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39" r:id="rId49"/>
    <p:sldMasterId id="2147483749" r:id="rId50"/>
    <p:sldMasterId id="2147483770" r:id="rId51"/>
  </p:sldMasterIdLst>
  <p:notesMasterIdLst>
    <p:notesMasterId r:id="rId63"/>
  </p:notesMasterIdLst>
  <p:handoutMasterIdLst>
    <p:handoutMasterId r:id="rId64"/>
  </p:handoutMasterIdLst>
  <p:sldIdLst>
    <p:sldId id="402" r:id="rId52"/>
    <p:sldId id="405" r:id="rId53"/>
    <p:sldId id="406" r:id="rId54"/>
    <p:sldId id="407" r:id="rId55"/>
    <p:sldId id="408" r:id="rId56"/>
    <p:sldId id="410" r:id="rId57"/>
    <p:sldId id="411" r:id="rId58"/>
    <p:sldId id="412" r:id="rId59"/>
    <p:sldId id="413" r:id="rId60"/>
    <p:sldId id="409" r:id="rId61"/>
    <p:sldId id="404" r:id="rId62"/>
  </p:sldIdLst>
  <p:sldSz cx="9144000" cy="6858000" type="screen4x3"/>
  <p:notesSz cx="6735763" cy="9866313"/>
  <p:custDataLst>
    <p:tags r:id="rId65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4088">
          <p15:clr>
            <a:srgbClr val="A4A3A4"/>
          </p15:clr>
        </p15:guide>
        <p15:guide id="5" pos="340">
          <p15:clr>
            <a:srgbClr val="A4A3A4"/>
          </p15:clr>
        </p15:guide>
        <p15:guide id="6" pos="2880">
          <p15:clr>
            <a:srgbClr val="A4A3A4"/>
          </p15:clr>
        </p15:guide>
        <p15:guide id="7" pos="2971">
          <p15:clr>
            <a:srgbClr val="A4A3A4"/>
          </p15:clr>
        </p15:guide>
        <p15:guide id="8" pos="55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AAB414"/>
    <a:srgbClr val="EBF1F5"/>
    <a:srgbClr val="BECDD7"/>
    <a:srgbClr val="879BAA"/>
    <a:srgbClr val="657887"/>
    <a:srgbClr val="ABC969"/>
    <a:srgbClr val="DFE6ED"/>
    <a:srgbClr val="506473"/>
    <a:srgbClr val="233746"/>
    <a:srgbClr val="FFE1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04" autoAdjust="0"/>
    <p:restoredTop sz="85790" autoAdjust="0"/>
  </p:normalViewPr>
  <p:slideViewPr>
    <p:cSldViewPr snapToGrid="0" showGuides="1">
      <p:cViewPr>
        <p:scale>
          <a:sx n="80" d="100"/>
          <a:sy n="80" d="100"/>
        </p:scale>
        <p:origin x="-1134" y="-180"/>
      </p:cViewPr>
      <p:guideLst>
        <p:guide orient="horz" pos="3901"/>
        <p:guide orient="horz" pos="896"/>
        <p:guide orient="horz" pos="1120"/>
        <p:guide orient="horz" pos="4093"/>
        <p:guide pos="346"/>
        <p:guide pos="2886"/>
        <p:guide pos="2975"/>
        <p:guide pos="55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-852" y="-90"/>
      </p:cViewPr>
      <p:guideLst>
        <p:guide orient="horz" pos="3108"/>
        <p:guide pos="212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50" Type="http://schemas.openxmlformats.org/officeDocument/2006/relationships/slideMaster" Target="slideMasters/slideMaster2.xml"/><Relationship Id="rId55" Type="http://schemas.openxmlformats.org/officeDocument/2006/relationships/slide" Target="slides/slide4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slide" Target="slides/slide2.xml"/><Relationship Id="rId58" Type="http://schemas.openxmlformats.org/officeDocument/2006/relationships/slide" Target="slides/slide7.xml"/><Relationship Id="rId66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Master" Target="slideMasters/slideMaster1.xml"/><Relationship Id="rId57" Type="http://schemas.openxmlformats.org/officeDocument/2006/relationships/slide" Target="slides/slide6.xml"/><Relationship Id="rId61" Type="http://schemas.openxmlformats.org/officeDocument/2006/relationships/slide" Target="slides/slide10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slide" Target="slides/slide1.xml"/><Relationship Id="rId60" Type="http://schemas.openxmlformats.org/officeDocument/2006/relationships/slide" Target="slides/slide9.xml"/><Relationship Id="rId65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slide" Target="slides/slide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slideMaster" Target="slideMasters/slideMaster3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8.xml"/><Relationship Id="rId67" Type="http://schemas.openxmlformats.org/officeDocument/2006/relationships/viewProps" Target="viewProps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3.xml"/><Relationship Id="rId62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C9B2DD-C254-46B8-AC2A-E2F2445F3705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2C96A02-21AF-49D5-B618-5CBF2C333745}">
      <dgm:prSet phldrT="[Text]"/>
      <dgm:spPr/>
      <dgm:t>
        <a:bodyPr/>
        <a:lstStyle/>
        <a:p>
          <a:r>
            <a:rPr lang="en-GB" dirty="0" smtClean="0"/>
            <a:t>Captain</a:t>
          </a:r>
          <a:endParaRPr lang="en-GB" dirty="0"/>
        </a:p>
      </dgm:t>
    </dgm:pt>
    <dgm:pt modelId="{A283C9E5-DB04-49E9-991D-29E5524348B5}" type="parTrans" cxnId="{B016C1FB-2537-4B07-A005-1BB4B0E89139}">
      <dgm:prSet/>
      <dgm:spPr/>
      <dgm:t>
        <a:bodyPr/>
        <a:lstStyle/>
        <a:p>
          <a:endParaRPr lang="en-GB"/>
        </a:p>
      </dgm:t>
    </dgm:pt>
    <dgm:pt modelId="{6A6C76EA-6AF8-41A6-8EE1-EC8884227A25}" type="sibTrans" cxnId="{B016C1FB-2537-4B07-A005-1BB4B0E89139}">
      <dgm:prSet/>
      <dgm:spPr/>
      <dgm:t>
        <a:bodyPr/>
        <a:lstStyle/>
        <a:p>
          <a:endParaRPr lang="en-GB"/>
        </a:p>
      </dgm:t>
    </dgm:pt>
    <dgm:pt modelId="{692B845F-5789-4853-90A2-3BC2FB7E4128}">
      <dgm:prSet phldrT="[Text]"/>
      <dgm:spPr/>
      <dgm:t>
        <a:bodyPr/>
        <a:lstStyle/>
        <a:p>
          <a:r>
            <a:rPr lang="en-GB" dirty="0" smtClean="0"/>
            <a:t>Chief Officer</a:t>
          </a:r>
          <a:endParaRPr lang="en-GB" dirty="0"/>
        </a:p>
      </dgm:t>
    </dgm:pt>
    <dgm:pt modelId="{DFA43870-73CA-44CC-98DD-7A88C27613D5}" type="parTrans" cxnId="{0A2F4C50-56BD-4598-9606-8BA39C14A641}">
      <dgm:prSet/>
      <dgm:spPr/>
      <dgm:t>
        <a:bodyPr/>
        <a:lstStyle/>
        <a:p>
          <a:endParaRPr lang="en-GB"/>
        </a:p>
      </dgm:t>
    </dgm:pt>
    <dgm:pt modelId="{26F30B9E-CA7A-4A1B-8F53-7F31D591452D}" type="sibTrans" cxnId="{0A2F4C50-56BD-4598-9606-8BA39C14A641}">
      <dgm:prSet/>
      <dgm:spPr/>
      <dgm:t>
        <a:bodyPr/>
        <a:lstStyle/>
        <a:p>
          <a:endParaRPr lang="en-GB"/>
        </a:p>
      </dgm:t>
    </dgm:pt>
    <dgm:pt modelId="{3B696C01-797F-48A0-85A0-828C69176727}">
      <dgm:prSet phldrT="[Text]"/>
      <dgm:spPr/>
      <dgm:t>
        <a:bodyPr/>
        <a:lstStyle/>
        <a:p>
          <a:r>
            <a:rPr lang="en-GB" dirty="0" smtClean="0"/>
            <a:t>Chief Engineer</a:t>
          </a:r>
          <a:endParaRPr lang="en-GB" dirty="0"/>
        </a:p>
      </dgm:t>
    </dgm:pt>
    <dgm:pt modelId="{509C0030-E7ED-4017-AFE5-21FC8168AF6B}" type="parTrans" cxnId="{FECC419E-2F92-4F8C-92C6-9C1CA510BE13}">
      <dgm:prSet/>
      <dgm:spPr/>
      <dgm:t>
        <a:bodyPr/>
        <a:lstStyle/>
        <a:p>
          <a:endParaRPr lang="en-GB"/>
        </a:p>
      </dgm:t>
    </dgm:pt>
    <dgm:pt modelId="{903C9304-B6CC-498E-9812-35863F6BB1EA}" type="sibTrans" cxnId="{FECC419E-2F92-4F8C-92C6-9C1CA510BE13}">
      <dgm:prSet/>
      <dgm:spPr/>
      <dgm:t>
        <a:bodyPr/>
        <a:lstStyle/>
        <a:p>
          <a:endParaRPr lang="en-GB"/>
        </a:p>
      </dgm:t>
    </dgm:pt>
    <dgm:pt modelId="{A443B685-DDBD-40EB-83AB-4DF13A8DF7DC}">
      <dgm:prSet/>
      <dgm:spPr/>
      <dgm:t>
        <a:bodyPr/>
        <a:lstStyle/>
        <a:p>
          <a:r>
            <a:rPr lang="en-GB" dirty="0" smtClean="0"/>
            <a:t>2</a:t>
          </a:r>
          <a:r>
            <a:rPr lang="en-GB" baseline="30000" dirty="0" smtClean="0"/>
            <a:t>nd</a:t>
          </a:r>
          <a:r>
            <a:rPr lang="en-GB" dirty="0" smtClean="0"/>
            <a:t> Engineer</a:t>
          </a:r>
          <a:endParaRPr lang="en-GB" dirty="0"/>
        </a:p>
      </dgm:t>
    </dgm:pt>
    <dgm:pt modelId="{22110E3E-649C-4C13-B9D8-09C3C51D5464}" type="parTrans" cxnId="{9823B664-A8AC-4164-902D-89DB087E7386}">
      <dgm:prSet/>
      <dgm:spPr/>
      <dgm:t>
        <a:bodyPr/>
        <a:lstStyle/>
        <a:p>
          <a:endParaRPr lang="en-GB"/>
        </a:p>
      </dgm:t>
    </dgm:pt>
    <dgm:pt modelId="{CCF4D0B1-FFC1-473C-A62F-D06EC1D9F0E1}" type="sibTrans" cxnId="{9823B664-A8AC-4164-902D-89DB087E7386}">
      <dgm:prSet/>
      <dgm:spPr/>
      <dgm:t>
        <a:bodyPr/>
        <a:lstStyle/>
        <a:p>
          <a:endParaRPr lang="en-GB"/>
        </a:p>
      </dgm:t>
    </dgm:pt>
    <dgm:pt modelId="{13EA4300-9CC9-4292-9F52-8D9EE24198E6}">
      <dgm:prSet/>
      <dgm:spPr/>
      <dgm:t>
        <a:bodyPr/>
        <a:lstStyle/>
        <a:p>
          <a:r>
            <a:rPr lang="en-GB" dirty="0" smtClean="0"/>
            <a:t>2</a:t>
          </a:r>
          <a:r>
            <a:rPr lang="en-GB" baseline="30000" dirty="0" smtClean="0"/>
            <a:t>nd</a:t>
          </a:r>
          <a:r>
            <a:rPr lang="en-GB" dirty="0" smtClean="0"/>
            <a:t> Officer</a:t>
          </a:r>
          <a:endParaRPr lang="en-GB" dirty="0"/>
        </a:p>
      </dgm:t>
    </dgm:pt>
    <dgm:pt modelId="{673B1221-3BF6-43EA-A475-E46DF2AA5B68}" type="parTrans" cxnId="{399EEA61-91E4-4C20-8CD3-26F9D9D60918}">
      <dgm:prSet/>
      <dgm:spPr/>
      <dgm:t>
        <a:bodyPr/>
        <a:lstStyle/>
        <a:p>
          <a:endParaRPr lang="en-GB"/>
        </a:p>
      </dgm:t>
    </dgm:pt>
    <dgm:pt modelId="{0C5B7FA6-88E6-4F76-8F18-696E0E1D8665}" type="sibTrans" cxnId="{399EEA61-91E4-4C20-8CD3-26F9D9D60918}">
      <dgm:prSet/>
      <dgm:spPr/>
      <dgm:t>
        <a:bodyPr/>
        <a:lstStyle/>
        <a:p>
          <a:endParaRPr lang="en-GB"/>
        </a:p>
      </dgm:t>
    </dgm:pt>
    <dgm:pt modelId="{084DB3BB-7BCB-4446-A98F-A06401B09CDE}" type="pres">
      <dgm:prSet presAssocID="{E2C9B2DD-C254-46B8-AC2A-E2F2445F3705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37DE5042-3679-45E3-B67A-40CF9143F367}" type="pres">
      <dgm:prSet presAssocID="{62C96A02-21AF-49D5-B618-5CBF2C333745}" presName="hierRoot1" presStyleCnt="0">
        <dgm:presLayoutVars>
          <dgm:hierBranch val="init"/>
        </dgm:presLayoutVars>
      </dgm:prSet>
      <dgm:spPr/>
    </dgm:pt>
    <dgm:pt modelId="{33206C43-C4A2-4907-80D6-D9D525297988}" type="pres">
      <dgm:prSet presAssocID="{62C96A02-21AF-49D5-B618-5CBF2C333745}" presName="rootComposite1" presStyleCnt="0"/>
      <dgm:spPr/>
    </dgm:pt>
    <dgm:pt modelId="{5C9A78E3-3932-4043-A56B-A5144ECAF867}" type="pres">
      <dgm:prSet presAssocID="{62C96A02-21AF-49D5-B618-5CBF2C333745}" presName="rootText1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7A0D763C-AFCC-4EAA-8819-24364A97E697}" type="pres">
      <dgm:prSet presAssocID="{62C96A02-21AF-49D5-B618-5CBF2C333745}" presName="topArc1" presStyleLbl="parChTrans1D1" presStyleIdx="0" presStyleCnt="10"/>
      <dgm:spPr/>
    </dgm:pt>
    <dgm:pt modelId="{F5817AE4-4B49-4773-A6B5-3891A5D6EFA5}" type="pres">
      <dgm:prSet presAssocID="{62C96A02-21AF-49D5-B618-5CBF2C333745}" presName="bottomArc1" presStyleLbl="parChTrans1D1" presStyleIdx="1" presStyleCnt="10"/>
      <dgm:spPr/>
    </dgm:pt>
    <dgm:pt modelId="{020DB2FB-1BC4-4E7E-8AFC-86F33F8A87AC}" type="pres">
      <dgm:prSet presAssocID="{62C96A02-21AF-49D5-B618-5CBF2C333745}" presName="topConnNode1" presStyleLbl="node1" presStyleIdx="0" presStyleCnt="0"/>
      <dgm:spPr/>
      <dgm:t>
        <a:bodyPr/>
        <a:lstStyle/>
        <a:p>
          <a:endParaRPr lang="en-GB"/>
        </a:p>
      </dgm:t>
    </dgm:pt>
    <dgm:pt modelId="{6A3DF4FB-3095-42EE-802D-826383221BDC}" type="pres">
      <dgm:prSet presAssocID="{62C96A02-21AF-49D5-B618-5CBF2C333745}" presName="hierChild2" presStyleCnt="0"/>
      <dgm:spPr/>
    </dgm:pt>
    <dgm:pt modelId="{7BDFD058-D999-4CD7-9636-72D57F8F4EE1}" type="pres">
      <dgm:prSet presAssocID="{DFA43870-73CA-44CC-98DD-7A88C27613D5}" presName="Name28" presStyleLbl="parChTrans1D2" presStyleIdx="0" presStyleCnt="2"/>
      <dgm:spPr/>
      <dgm:t>
        <a:bodyPr/>
        <a:lstStyle/>
        <a:p>
          <a:endParaRPr lang="en-GB"/>
        </a:p>
      </dgm:t>
    </dgm:pt>
    <dgm:pt modelId="{612EA059-949C-44FA-8389-BF8CE790F60F}" type="pres">
      <dgm:prSet presAssocID="{692B845F-5789-4853-90A2-3BC2FB7E4128}" presName="hierRoot2" presStyleCnt="0">
        <dgm:presLayoutVars>
          <dgm:hierBranch val="init"/>
        </dgm:presLayoutVars>
      </dgm:prSet>
      <dgm:spPr/>
    </dgm:pt>
    <dgm:pt modelId="{5FDEE4F4-A05D-47B5-B401-BD7C7634AEB9}" type="pres">
      <dgm:prSet presAssocID="{692B845F-5789-4853-90A2-3BC2FB7E4128}" presName="rootComposite2" presStyleCnt="0"/>
      <dgm:spPr/>
    </dgm:pt>
    <dgm:pt modelId="{C03A2CFB-E7CF-4474-B13C-20E92D22130F}" type="pres">
      <dgm:prSet presAssocID="{692B845F-5789-4853-90A2-3BC2FB7E4128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19B3D09A-F477-4B49-99EB-332382B8D374}" type="pres">
      <dgm:prSet presAssocID="{692B845F-5789-4853-90A2-3BC2FB7E4128}" presName="topArc2" presStyleLbl="parChTrans1D1" presStyleIdx="2" presStyleCnt="10"/>
      <dgm:spPr/>
    </dgm:pt>
    <dgm:pt modelId="{2CD50853-0EE5-4397-AC0E-456542104090}" type="pres">
      <dgm:prSet presAssocID="{692B845F-5789-4853-90A2-3BC2FB7E4128}" presName="bottomArc2" presStyleLbl="parChTrans1D1" presStyleIdx="3" presStyleCnt="10"/>
      <dgm:spPr/>
    </dgm:pt>
    <dgm:pt modelId="{F8496D30-62B2-45B9-BB6C-1521D9137A70}" type="pres">
      <dgm:prSet presAssocID="{692B845F-5789-4853-90A2-3BC2FB7E4128}" presName="topConnNode2" presStyleLbl="node2" presStyleIdx="0" presStyleCnt="0"/>
      <dgm:spPr/>
      <dgm:t>
        <a:bodyPr/>
        <a:lstStyle/>
        <a:p>
          <a:endParaRPr lang="en-GB"/>
        </a:p>
      </dgm:t>
    </dgm:pt>
    <dgm:pt modelId="{1022A64C-CC87-4846-82AB-2420106CD734}" type="pres">
      <dgm:prSet presAssocID="{692B845F-5789-4853-90A2-3BC2FB7E4128}" presName="hierChild4" presStyleCnt="0"/>
      <dgm:spPr/>
    </dgm:pt>
    <dgm:pt modelId="{21CCA997-2E00-4685-9156-1363874127DD}" type="pres">
      <dgm:prSet presAssocID="{673B1221-3BF6-43EA-A475-E46DF2AA5B68}" presName="Name28" presStyleLbl="parChTrans1D3" presStyleIdx="0" presStyleCnt="2"/>
      <dgm:spPr/>
      <dgm:t>
        <a:bodyPr/>
        <a:lstStyle/>
        <a:p>
          <a:endParaRPr lang="en-GB"/>
        </a:p>
      </dgm:t>
    </dgm:pt>
    <dgm:pt modelId="{E20D8613-396D-466C-A1CA-32BCE1060366}" type="pres">
      <dgm:prSet presAssocID="{13EA4300-9CC9-4292-9F52-8D9EE24198E6}" presName="hierRoot2" presStyleCnt="0">
        <dgm:presLayoutVars>
          <dgm:hierBranch val="init"/>
        </dgm:presLayoutVars>
      </dgm:prSet>
      <dgm:spPr/>
    </dgm:pt>
    <dgm:pt modelId="{586781BB-6941-454F-AC9D-B6851680651B}" type="pres">
      <dgm:prSet presAssocID="{13EA4300-9CC9-4292-9F52-8D9EE24198E6}" presName="rootComposite2" presStyleCnt="0"/>
      <dgm:spPr/>
    </dgm:pt>
    <dgm:pt modelId="{07BA9A30-E6C8-4C37-BFDF-DC6C18B7245D}" type="pres">
      <dgm:prSet presAssocID="{13EA4300-9CC9-4292-9F52-8D9EE24198E6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8B3EB830-FCE6-4344-82EB-5C15616046B8}" type="pres">
      <dgm:prSet presAssocID="{13EA4300-9CC9-4292-9F52-8D9EE24198E6}" presName="topArc2" presStyleLbl="parChTrans1D1" presStyleIdx="4" presStyleCnt="10"/>
      <dgm:spPr/>
    </dgm:pt>
    <dgm:pt modelId="{981CD015-1642-486E-853A-7C46B34F27C1}" type="pres">
      <dgm:prSet presAssocID="{13EA4300-9CC9-4292-9F52-8D9EE24198E6}" presName="bottomArc2" presStyleLbl="parChTrans1D1" presStyleIdx="5" presStyleCnt="10"/>
      <dgm:spPr/>
    </dgm:pt>
    <dgm:pt modelId="{06FEC7B9-5C8C-4668-8B78-22B53361FFF8}" type="pres">
      <dgm:prSet presAssocID="{13EA4300-9CC9-4292-9F52-8D9EE24198E6}" presName="topConnNode2" presStyleLbl="node3" presStyleIdx="0" presStyleCnt="0"/>
      <dgm:spPr/>
      <dgm:t>
        <a:bodyPr/>
        <a:lstStyle/>
        <a:p>
          <a:endParaRPr lang="en-GB"/>
        </a:p>
      </dgm:t>
    </dgm:pt>
    <dgm:pt modelId="{13F8C34E-BF21-4D98-985D-242FDCCE1F9F}" type="pres">
      <dgm:prSet presAssocID="{13EA4300-9CC9-4292-9F52-8D9EE24198E6}" presName="hierChild4" presStyleCnt="0"/>
      <dgm:spPr/>
    </dgm:pt>
    <dgm:pt modelId="{0422DAF5-41B5-4D6E-AEC1-0E9685CE9E45}" type="pres">
      <dgm:prSet presAssocID="{13EA4300-9CC9-4292-9F52-8D9EE24198E6}" presName="hierChild5" presStyleCnt="0"/>
      <dgm:spPr/>
    </dgm:pt>
    <dgm:pt modelId="{2BC96942-C26D-4342-97DD-85E5A94ED535}" type="pres">
      <dgm:prSet presAssocID="{692B845F-5789-4853-90A2-3BC2FB7E4128}" presName="hierChild5" presStyleCnt="0"/>
      <dgm:spPr/>
    </dgm:pt>
    <dgm:pt modelId="{4B50737A-5909-4D3D-8B38-1C78D4EB9E82}" type="pres">
      <dgm:prSet presAssocID="{509C0030-E7ED-4017-AFE5-21FC8168AF6B}" presName="Name28" presStyleLbl="parChTrans1D2" presStyleIdx="1" presStyleCnt="2"/>
      <dgm:spPr/>
      <dgm:t>
        <a:bodyPr/>
        <a:lstStyle/>
        <a:p>
          <a:endParaRPr lang="en-GB"/>
        </a:p>
      </dgm:t>
    </dgm:pt>
    <dgm:pt modelId="{E19E007A-EB51-4673-8B26-09A624C98E50}" type="pres">
      <dgm:prSet presAssocID="{3B696C01-797F-48A0-85A0-828C69176727}" presName="hierRoot2" presStyleCnt="0">
        <dgm:presLayoutVars>
          <dgm:hierBranch val="init"/>
        </dgm:presLayoutVars>
      </dgm:prSet>
      <dgm:spPr/>
    </dgm:pt>
    <dgm:pt modelId="{15BD235A-3059-402F-9B00-A2BE860A2852}" type="pres">
      <dgm:prSet presAssocID="{3B696C01-797F-48A0-85A0-828C69176727}" presName="rootComposite2" presStyleCnt="0"/>
      <dgm:spPr/>
    </dgm:pt>
    <dgm:pt modelId="{3BAFF3D2-4D8B-42D7-B38C-9F1A71F964AC}" type="pres">
      <dgm:prSet presAssocID="{3B696C01-797F-48A0-85A0-828C69176727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77CD229-5BB6-4BA1-B3D2-2FFE3A71675E}" type="pres">
      <dgm:prSet presAssocID="{3B696C01-797F-48A0-85A0-828C69176727}" presName="topArc2" presStyleLbl="parChTrans1D1" presStyleIdx="6" presStyleCnt="10"/>
      <dgm:spPr/>
    </dgm:pt>
    <dgm:pt modelId="{E6DB3DD2-52D2-43CA-848D-8145F8FB8653}" type="pres">
      <dgm:prSet presAssocID="{3B696C01-797F-48A0-85A0-828C69176727}" presName="bottomArc2" presStyleLbl="parChTrans1D1" presStyleIdx="7" presStyleCnt="10"/>
      <dgm:spPr/>
    </dgm:pt>
    <dgm:pt modelId="{427BA327-0A26-4BD7-BB6F-AE243A40F3B9}" type="pres">
      <dgm:prSet presAssocID="{3B696C01-797F-48A0-85A0-828C69176727}" presName="topConnNode2" presStyleLbl="node2" presStyleIdx="0" presStyleCnt="0"/>
      <dgm:spPr/>
      <dgm:t>
        <a:bodyPr/>
        <a:lstStyle/>
        <a:p>
          <a:endParaRPr lang="en-GB"/>
        </a:p>
      </dgm:t>
    </dgm:pt>
    <dgm:pt modelId="{F3A77961-0767-4DCD-818C-79E1BE36FABF}" type="pres">
      <dgm:prSet presAssocID="{3B696C01-797F-48A0-85A0-828C69176727}" presName="hierChild4" presStyleCnt="0"/>
      <dgm:spPr/>
    </dgm:pt>
    <dgm:pt modelId="{DF9BA068-FA09-45F9-AEB8-A34225B115D0}" type="pres">
      <dgm:prSet presAssocID="{22110E3E-649C-4C13-B9D8-09C3C51D5464}" presName="Name28" presStyleLbl="parChTrans1D3" presStyleIdx="1" presStyleCnt="2"/>
      <dgm:spPr/>
      <dgm:t>
        <a:bodyPr/>
        <a:lstStyle/>
        <a:p>
          <a:endParaRPr lang="en-GB"/>
        </a:p>
      </dgm:t>
    </dgm:pt>
    <dgm:pt modelId="{C716C3E9-37CB-40CC-B634-184A2C1F2FE8}" type="pres">
      <dgm:prSet presAssocID="{A443B685-DDBD-40EB-83AB-4DF13A8DF7DC}" presName="hierRoot2" presStyleCnt="0">
        <dgm:presLayoutVars>
          <dgm:hierBranch val="init"/>
        </dgm:presLayoutVars>
      </dgm:prSet>
      <dgm:spPr/>
    </dgm:pt>
    <dgm:pt modelId="{CF43CBAC-7B51-4B64-9115-87ADA89995A6}" type="pres">
      <dgm:prSet presAssocID="{A443B685-DDBD-40EB-83AB-4DF13A8DF7DC}" presName="rootComposite2" presStyleCnt="0"/>
      <dgm:spPr/>
    </dgm:pt>
    <dgm:pt modelId="{A1901BD0-2988-434E-9905-8704396C69B0}" type="pres">
      <dgm:prSet presAssocID="{A443B685-DDBD-40EB-83AB-4DF13A8DF7DC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87951DF-80AA-4C32-B34F-8694C5A4EAA2}" type="pres">
      <dgm:prSet presAssocID="{A443B685-DDBD-40EB-83AB-4DF13A8DF7DC}" presName="topArc2" presStyleLbl="parChTrans1D1" presStyleIdx="8" presStyleCnt="10"/>
      <dgm:spPr/>
    </dgm:pt>
    <dgm:pt modelId="{F4351940-187E-4C96-905F-4BF5836BAA02}" type="pres">
      <dgm:prSet presAssocID="{A443B685-DDBD-40EB-83AB-4DF13A8DF7DC}" presName="bottomArc2" presStyleLbl="parChTrans1D1" presStyleIdx="9" presStyleCnt="10"/>
      <dgm:spPr/>
    </dgm:pt>
    <dgm:pt modelId="{AA23EFA8-782C-400A-B716-C7FE6AFC9018}" type="pres">
      <dgm:prSet presAssocID="{A443B685-DDBD-40EB-83AB-4DF13A8DF7DC}" presName="topConnNode2" presStyleLbl="node3" presStyleIdx="0" presStyleCnt="0"/>
      <dgm:spPr/>
      <dgm:t>
        <a:bodyPr/>
        <a:lstStyle/>
        <a:p>
          <a:endParaRPr lang="en-GB"/>
        </a:p>
      </dgm:t>
    </dgm:pt>
    <dgm:pt modelId="{B0337F08-8C4B-458E-BB3D-FDC42B3020FA}" type="pres">
      <dgm:prSet presAssocID="{A443B685-DDBD-40EB-83AB-4DF13A8DF7DC}" presName="hierChild4" presStyleCnt="0"/>
      <dgm:spPr/>
    </dgm:pt>
    <dgm:pt modelId="{8303C55C-D87D-4776-9F34-BBBBC5A02C29}" type="pres">
      <dgm:prSet presAssocID="{A443B685-DDBD-40EB-83AB-4DF13A8DF7DC}" presName="hierChild5" presStyleCnt="0"/>
      <dgm:spPr/>
    </dgm:pt>
    <dgm:pt modelId="{EEEDCE17-2BD9-46B1-8B75-DF6657DFE238}" type="pres">
      <dgm:prSet presAssocID="{3B696C01-797F-48A0-85A0-828C69176727}" presName="hierChild5" presStyleCnt="0"/>
      <dgm:spPr/>
    </dgm:pt>
    <dgm:pt modelId="{9A51DBD6-1F51-426D-9E0D-DADF4B210D11}" type="pres">
      <dgm:prSet presAssocID="{62C96A02-21AF-49D5-B618-5CBF2C333745}" presName="hierChild3" presStyleCnt="0"/>
      <dgm:spPr/>
    </dgm:pt>
  </dgm:ptLst>
  <dgm:cxnLst>
    <dgm:cxn modelId="{8568CE65-6C03-4B43-B202-33A0730281AF}" type="presOf" srcId="{22110E3E-649C-4C13-B9D8-09C3C51D5464}" destId="{DF9BA068-FA09-45F9-AEB8-A34225B115D0}" srcOrd="0" destOrd="0" presId="urn:microsoft.com/office/officeart/2008/layout/HalfCircleOrganizationChart"/>
    <dgm:cxn modelId="{1ABF82A8-696A-43C2-BAF2-45EA812AE77F}" type="presOf" srcId="{3B696C01-797F-48A0-85A0-828C69176727}" destId="{427BA327-0A26-4BD7-BB6F-AE243A40F3B9}" srcOrd="1" destOrd="0" presId="urn:microsoft.com/office/officeart/2008/layout/HalfCircleOrganizationChart"/>
    <dgm:cxn modelId="{FDB0830F-DA42-4C45-8486-23883388A1C2}" type="presOf" srcId="{A443B685-DDBD-40EB-83AB-4DF13A8DF7DC}" destId="{AA23EFA8-782C-400A-B716-C7FE6AFC9018}" srcOrd="1" destOrd="0" presId="urn:microsoft.com/office/officeart/2008/layout/HalfCircleOrganizationChart"/>
    <dgm:cxn modelId="{F379D702-3BEE-4E6B-ADC9-878F09DE3D56}" type="presOf" srcId="{673B1221-3BF6-43EA-A475-E46DF2AA5B68}" destId="{21CCA997-2E00-4685-9156-1363874127DD}" srcOrd="0" destOrd="0" presId="urn:microsoft.com/office/officeart/2008/layout/HalfCircleOrganizationChart"/>
    <dgm:cxn modelId="{51981479-F3D2-4879-8919-1F8EAF11B9C2}" type="presOf" srcId="{3B696C01-797F-48A0-85A0-828C69176727}" destId="{3BAFF3D2-4D8B-42D7-B38C-9F1A71F964AC}" srcOrd="0" destOrd="0" presId="urn:microsoft.com/office/officeart/2008/layout/HalfCircleOrganizationChart"/>
    <dgm:cxn modelId="{B016C1FB-2537-4B07-A005-1BB4B0E89139}" srcId="{E2C9B2DD-C254-46B8-AC2A-E2F2445F3705}" destId="{62C96A02-21AF-49D5-B618-5CBF2C333745}" srcOrd="0" destOrd="0" parTransId="{A283C9E5-DB04-49E9-991D-29E5524348B5}" sibTransId="{6A6C76EA-6AF8-41A6-8EE1-EC8884227A25}"/>
    <dgm:cxn modelId="{FF157DE9-F852-4D8C-8D3C-D430B7BFAF2D}" type="presOf" srcId="{692B845F-5789-4853-90A2-3BC2FB7E4128}" destId="{F8496D30-62B2-45B9-BB6C-1521D9137A70}" srcOrd="1" destOrd="0" presId="urn:microsoft.com/office/officeart/2008/layout/HalfCircleOrganizationChart"/>
    <dgm:cxn modelId="{9353D991-4F5D-4A79-91B6-81693A54AC30}" type="presOf" srcId="{A443B685-DDBD-40EB-83AB-4DF13A8DF7DC}" destId="{A1901BD0-2988-434E-9905-8704396C69B0}" srcOrd="0" destOrd="0" presId="urn:microsoft.com/office/officeart/2008/layout/HalfCircleOrganizationChart"/>
    <dgm:cxn modelId="{8A3CE327-BF6E-4606-861D-9D243C13A7DB}" type="presOf" srcId="{509C0030-E7ED-4017-AFE5-21FC8168AF6B}" destId="{4B50737A-5909-4D3D-8B38-1C78D4EB9E82}" srcOrd="0" destOrd="0" presId="urn:microsoft.com/office/officeart/2008/layout/HalfCircleOrganizationChart"/>
    <dgm:cxn modelId="{18977731-60BA-452C-9B49-F4F5764B1BFB}" type="presOf" srcId="{13EA4300-9CC9-4292-9F52-8D9EE24198E6}" destId="{07BA9A30-E6C8-4C37-BFDF-DC6C18B7245D}" srcOrd="0" destOrd="0" presId="urn:microsoft.com/office/officeart/2008/layout/HalfCircleOrganizationChart"/>
    <dgm:cxn modelId="{0A2F4C50-56BD-4598-9606-8BA39C14A641}" srcId="{62C96A02-21AF-49D5-B618-5CBF2C333745}" destId="{692B845F-5789-4853-90A2-3BC2FB7E4128}" srcOrd="0" destOrd="0" parTransId="{DFA43870-73CA-44CC-98DD-7A88C27613D5}" sibTransId="{26F30B9E-CA7A-4A1B-8F53-7F31D591452D}"/>
    <dgm:cxn modelId="{F4BFCF0E-EC39-4C5B-ACC9-89323A7B2CC3}" type="presOf" srcId="{692B845F-5789-4853-90A2-3BC2FB7E4128}" destId="{C03A2CFB-E7CF-4474-B13C-20E92D22130F}" srcOrd="0" destOrd="0" presId="urn:microsoft.com/office/officeart/2008/layout/HalfCircleOrganizationChart"/>
    <dgm:cxn modelId="{C4167CA9-CC5F-4B4F-8E4A-D97133ADAB7C}" type="presOf" srcId="{E2C9B2DD-C254-46B8-AC2A-E2F2445F3705}" destId="{084DB3BB-7BCB-4446-A98F-A06401B09CDE}" srcOrd="0" destOrd="0" presId="urn:microsoft.com/office/officeart/2008/layout/HalfCircleOrganizationChart"/>
    <dgm:cxn modelId="{FECC419E-2F92-4F8C-92C6-9C1CA510BE13}" srcId="{62C96A02-21AF-49D5-B618-5CBF2C333745}" destId="{3B696C01-797F-48A0-85A0-828C69176727}" srcOrd="1" destOrd="0" parTransId="{509C0030-E7ED-4017-AFE5-21FC8168AF6B}" sibTransId="{903C9304-B6CC-498E-9812-35863F6BB1EA}"/>
    <dgm:cxn modelId="{BD32CD7F-15B5-4B69-8D93-7CF432DD0AC0}" type="presOf" srcId="{62C96A02-21AF-49D5-B618-5CBF2C333745}" destId="{5C9A78E3-3932-4043-A56B-A5144ECAF867}" srcOrd="0" destOrd="0" presId="urn:microsoft.com/office/officeart/2008/layout/HalfCircleOrganizationChart"/>
    <dgm:cxn modelId="{9E34C579-0383-45D2-9C9A-3240F7F334F2}" type="presOf" srcId="{62C96A02-21AF-49D5-B618-5CBF2C333745}" destId="{020DB2FB-1BC4-4E7E-8AFC-86F33F8A87AC}" srcOrd="1" destOrd="0" presId="urn:microsoft.com/office/officeart/2008/layout/HalfCircleOrganizationChart"/>
    <dgm:cxn modelId="{4AE8235D-5773-4900-B294-137FC3A122A9}" type="presOf" srcId="{13EA4300-9CC9-4292-9F52-8D9EE24198E6}" destId="{06FEC7B9-5C8C-4668-8B78-22B53361FFF8}" srcOrd="1" destOrd="0" presId="urn:microsoft.com/office/officeart/2008/layout/HalfCircleOrganizationChart"/>
    <dgm:cxn modelId="{9823B664-A8AC-4164-902D-89DB087E7386}" srcId="{3B696C01-797F-48A0-85A0-828C69176727}" destId="{A443B685-DDBD-40EB-83AB-4DF13A8DF7DC}" srcOrd="0" destOrd="0" parTransId="{22110E3E-649C-4C13-B9D8-09C3C51D5464}" sibTransId="{CCF4D0B1-FFC1-473C-A62F-D06EC1D9F0E1}"/>
    <dgm:cxn modelId="{BADD7C94-6584-40E3-A32F-BE68C56F21DE}" type="presOf" srcId="{DFA43870-73CA-44CC-98DD-7A88C27613D5}" destId="{7BDFD058-D999-4CD7-9636-72D57F8F4EE1}" srcOrd="0" destOrd="0" presId="urn:microsoft.com/office/officeart/2008/layout/HalfCircleOrganizationChart"/>
    <dgm:cxn modelId="{399EEA61-91E4-4C20-8CD3-26F9D9D60918}" srcId="{692B845F-5789-4853-90A2-3BC2FB7E4128}" destId="{13EA4300-9CC9-4292-9F52-8D9EE24198E6}" srcOrd="0" destOrd="0" parTransId="{673B1221-3BF6-43EA-A475-E46DF2AA5B68}" sibTransId="{0C5B7FA6-88E6-4F76-8F18-696E0E1D8665}"/>
    <dgm:cxn modelId="{E43009B0-7631-4961-9A37-EF4E8D7CFCB0}" type="presParOf" srcId="{084DB3BB-7BCB-4446-A98F-A06401B09CDE}" destId="{37DE5042-3679-45E3-B67A-40CF9143F367}" srcOrd="0" destOrd="0" presId="urn:microsoft.com/office/officeart/2008/layout/HalfCircleOrganizationChart"/>
    <dgm:cxn modelId="{0D183951-962A-49BD-A634-2B2A90E9566F}" type="presParOf" srcId="{37DE5042-3679-45E3-B67A-40CF9143F367}" destId="{33206C43-C4A2-4907-80D6-D9D525297988}" srcOrd="0" destOrd="0" presId="urn:microsoft.com/office/officeart/2008/layout/HalfCircleOrganizationChart"/>
    <dgm:cxn modelId="{D735B8F6-A8F9-496B-86AF-BD1CDD02A982}" type="presParOf" srcId="{33206C43-C4A2-4907-80D6-D9D525297988}" destId="{5C9A78E3-3932-4043-A56B-A5144ECAF867}" srcOrd="0" destOrd="0" presId="urn:microsoft.com/office/officeart/2008/layout/HalfCircleOrganizationChart"/>
    <dgm:cxn modelId="{452F90B7-939D-4C47-AF12-6DC2D5907558}" type="presParOf" srcId="{33206C43-C4A2-4907-80D6-D9D525297988}" destId="{7A0D763C-AFCC-4EAA-8819-24364A97E697}" srcOrd="1" destOrd="0" presId="urn:microsoft.com/office/officeart/2008/layout/HalfCircleOrganizationChart"/>
    <dgm:cxn modelId="{B64DFDA2-3958-4AFB-A528-2F14611C8849}" type="presParOf" srcId="{33206C43-C4A2-4907-80D6-D9D525297988}" destId="{F5817AE4-4B49-4773-A6B5-3891A5D6EFA5}" srcOrd="2" destOrd="0" presId="urn:microsoft.com/office/officeart/2008/layout/HalfCircleOrganizationChart"/>
    <dgm:cxn modelId="{69059C4B-9239-4461-8FF7-366FCD4EEA17}" type="presParOf" srcId="{33206C43-C4A2-4907-80D6-D9D525297988}" destId="{020DB2FB-1BC4-4E7E-8AFC-86F33F8A87AC}" srcOrd="3" destOrd="0" presId="urn:microsoft.com/office/officeart/2008/layout/HalfCircleOrganizationChart"/>
    <dgm:cxn modelId="{7C67DDC8-350D-4156-97E0-7AE1459A1C1B}" type="presParOf" srcId="{37DE5042-3679-45E3-B67A-40CF9143F367}" destId="{6A3DF4FB-3095-42EE-802D-826383221BDC}" srcOrd="1" destOrd="0" presId="urn:microsoft.com/office/officeart/2008/layout/HalfCircleOrganizationChart"/>
    <dgm:cxn modelId="{13DB4EEF-D03E-4DD7-AAA0-82DE0EABF839}" type="presParOf" srcId="{6A3DF4FB-3095-42EE-802D-826383221BDC}" destId="{7BDFD058-D999-4CD7-9636-72D57F8F4EE1}" srcOrd="0" destOrd="0" presId="urn:microsoft.com/office/officeart/2008/layout/HalfCircleOrganizationChart"/>
    <dgm:cxn modelId="{9A6371A7-F6D3-42AA-89C9-5531545FD352}" type="presParOf" srcId="{6A3DF4FB-3095-42EE-802D-826383221BDC}" destId="{612EA059-949C-44FA-8389-BF8CE790F60F}" srcOrd="1" destOrd="0" presId="urn:microsoft.com/office/officeart/2008/layout/HalfCircleOrganizationChart"/>
    <dgm:cxn modelId="{1AB3D53B-952F-4092-B64D-E217E9A68CA4}" type="presParOf" srcId="{612EA059-949C-44FA-8389-BF8CE790F60F}" destId="{5FDEE4F4-A05D-47B5-B401-BD7C7634AEB9}" srcOrd="0" destOrd="0" presId="urn:microsoft.com/office/officeart/2008/layout/HalfCircleOrganizationChart"/>
    <dgm:cxn modelId="{83912FB1-A036-4DCA-8251-B96CED78056C}" type="presParOf" srcId="{5FDEE4F4-A05D-47B5-B401-BD7C7634AEB9}" destId="{C03A2CFB-E7CF-4474-B13C-20E92D22130F}" srcOrd="0" destOrd="0" presId="urn:microsoft.com/office/officeart/2008/layout/HalfCircleOrganizationChart"/>
    <dgm:cxn modelId="{5D4A18D9-D750-4D99-B5A2-8521711902D8}" type="presParOf" srcId="{5FDEE4F4-A05D-47B5-B401-BD7C7634AEB9}" destId="{19B3D09A-F477-4B49-99EB-332382B8D374}" srcOrd="1" destOrd="0" presId="urn:microsoft.com/office/officeart/2008/layout/HalfCircleOrganizationChart"/>
    <dgm:cxn modelId="{26BE4E8E-5915-4907-931C-4D38CC09A245}" type="presParOf" srcId="{5FDEE4F4-A05D-47B5-B401-BD7C7634AEB9}" destId="{2CD50853-0EE5-4397-AC0E-456542104090}" srcOrd="2" destOrd="0" presId="urn:microsoft.com/office/officeart/2008/layout/HalfCircleOrganizationChart"/>
    <dgm:cxn modelId="{0B93E016-6296-46A7-85E2-7C5C568CFEAA}" type="presParOf" srcId="{5FDEE4F4-A05D-47B5-B401-BD7C7634AEB9}" destId="{F8496D30-62B2-45B9-BB6C-1521D9137A70}" srcOrd="3" destOrd="0" presId="urn:microsoft.com/office/officeart/2008/layout/HalfCircleOrganizationChart"/>
    <dgm:cxn modelId="{44F03F96-15DC-4F1B-838A-36C5988526A3}" type="presParOf" srcId="{612EA059-949C-44FA-8389-BF8CE790F60F}" destId="{1022A64C-CC87-4846-82AB-2420106CD734}" srcOrd="1" destOrd="0" presId="urn:microsoft.com/office/officeart/2008/layout/HalfCircleOrganizationChart"/>
    <dgm:cxn modelId="{49EC164A-7B56-4B17-8CC4-A17A0A4AB1F9}" type="presParOf" srcId="{1022A64C-CC87-4846-82AB-2420106CD734}" destId="{21CCA997-2E00-4685-9156-1363874127DD}" srcOrd="0" destOrd="0" presId="urn:microsoft.com/office/officeart/2008/layout/HalfCircleOrganizationChart"/>
    <dgm:cxn modelId="{7184AAE1-0B54-4C27-8811-4B00F4345781}" type="presParOf" srcId="{1022A64C-CC87-4846-82AB-2420106CD734}" destId="{E20D8613-396D-466C-A1CA-32BCE1060366}" srcOrd="1" destOrd="0" presId="urn:microsoft.com/office/officeart/2008/layout/HalfCircleOrganizationChart"/>
    <dgm:cxn modelId="{78576FC7-289D-4C05-8E58-8017C98E106B}" type="presParOf" srcId="{E20D8613-396D-466C-A1CA-32BCE1060366}" destId="{586781BB-6941-454F-AC9D-B6851680651B}" srcOrd="0" destOrd="0" presId="urn:microsoft.com/office/officeart/2008/layout/HalfCircleOrganizationChart"/>
    <dgm:cxn modelId="{3C4DE443-D2C0-4928-8ECC-60EAA3912D37}" type="presParOf" srcId="{586781BB-6941-454F-AC9D-B6851680651B}" destId="{07BA9A30-E6C8-4C37-BFDF-DC6C18B7245D}" srcOrd="0" destOrd="0" presId="urn:microsoft.com/office/officeart/2008/layout/HalfCircleOrganizationChart"/>
    <dgm:cxn modelId="{F9C9F166-7A0D-44EF-803C-1817B83A1A71}" type="presParOf" srcId="{586781BB-6941-454F-AC9D-B6851680651B}" destId="{8B3EB830-FCE6-4344-82EB-5C15616046B8}" srcOrd="1" destOrd="0" presId="urn:microsoft.com/office/officeart/2008/layout/HalfCircleOrganizationChart"/>
    <dgm:cxn modelId="{C6B2BA81-956B-40CB-9A0A-4505B129E51A}" type="presParOf" srcId="{586781BB-6941-454F-AC9D-B6851680651B}" destId="{981CD015-1642-486E-853A-7C46B34F27C1}" srcOrd="2" destOrd="0" presId="urn:microsoft.com/office/officeart/2008/layout/HalfCircleOrganizationChart"/>
    <dgm:cxn modelId="{F10BF878-C7B9-42F6-8EE2-C573F5BC6C10}" type="presParOf" srcId="{586781BB-6941-454F-AC9D-B6851680651B}" destId="{06FEC7B9-5C8C-4668-8B78-22B53361FFF8}" srcOrd="3" destOrd="0" presId="urn:microsoft.com/office/officeart/2008/layout/HalfCircleOrganizationChart"/>
    <dgm:cxn modelId="{684AE3DB-0901-4371-82EE-F5DE846B2546}" type="presParOf" srcId="{E20D8613-396D-466C-A1CA-32BCE1060366}" destId="{13F8C34E-BF21-4D98-985D-242FDCCE1F9F}" srcOrd="1" destOrd="0" presId="urn:microsoft.com/office/officeart/2008/layout/HalfCircleOrganizationChart"/>
    <dgm:cxn modelId="{E5C07ECC-17DC-4D6B-B23D-E51F88E2CCF6}" type="presParOf" srcId="{E20D8613-396D-466C-A1CA-32BCE1060366}" destId="{0422DAF5-41B5-4D6E-AEC1-0E9685CE9E45}" srcOrd="2" destOrd="0" presId="urn:microsoft.com/office/officeart/2008/layout/HalfCircleOrganizationChart"/>
    <dgm:cxn modelId="{99DFB6E6-B59E-44C2-8443-6F97E81E6CED}" type="presParOf" srcId="{612EA059-949C-44FA-8389-BF8CE790F60F}" destId="{2BC96942-C26D-4342-97DD-85E5A94ED535}" srcOrd="2" destOrd="0" presId="urn:microsoft.com/office/officeart/2008/layout/HalfCircleOrganizationChart"/>
    <dgm:cxn modelId="{5174F403-52C8-4AB1-B3CE-EC4DA4A1FAC3}" type="presParOf" srcId="{6A3DF4FB-3095-42EE-802D-826383221BDC}" destId="{4B50737A-5909-4D3D-8B38-1C78D4EB9E82}" srcOrd="2" destOrd="0" presId="urn:microsoft.com/office/officeart/2008/layout/HalfCircleOrganizationChart"/>
    <dgm:cxn modelId="{AC05A909-5142-4E52-A8A8-F2009CF415FA}" type="presParOf" srcId="{6A3DF4FB-3095-42EE-802D-826383221BDC}" destId="{E19E007A-EB51-4673-8B26-09A624C98E50}" srcOrd="3" destOrd="0" presId="urn:microsoft.com/office/officeart/2008/layout/HalfCircleOrganizationChart"/>
    <dgm:cxn modelId="{32AC4010-892E-477F-9F8B-6DAB9488D196}" type="presParOf" srcId="{E19E007A-EB51-4673-8B26-09A624C98E50}" destId="{15BD235A-3059-402F-9B00-A2BE860A2852}" srcOrd="0" destOrd="0" presId="urn:microsoft.com/office/officeart/2008/layout/HalfCircleOrganizationChart"/>
    <dgm:cxn modelId="{0C4DBC5A-D8A2-4274-B43D-2E4398CFF460}" type="presParOf" srcId="{15BD235A-3059-402F-9B00-A2BE860A2852}" destId="{3BAFF3D2-4D8B-42D7-B38C-9F1A71F964AC}" srcOrd="0" destOrd="0" presId="urn:microsoft.com/office/officeart/2008/layout/HalfCircleOrganizationChart"/>
    <dgm:cxn modelId="{3F42A021-35E8-473A-A856-2518267C16FE}" type="presParOf" srcId="{15BD235A-3059-402F-9B00-A2BE860A2852}" destId="{A77CD229-5BB6-4BA1-B3D2-2FFE3A71675E}" srcOrd="1" destOrd="0" presId="urn:microsoft.com/office/officeart/2008/layout/HalfCircleOrganizationChart"/>
    <dgm:cxn modelId="{9F31814F-5506-4610-903F-5E0E202A3012}" type="presParOf" srcId="{15BD235A-3059-402F-9B00-A2BE860A2852}" destId="{E6DB3DD2-52D2-43CA-848D-8145F8FB8653}" srcOrd="2" destOrd="0" presId="urn:microsoft.com/office/officeart/2008/layout/HalfCircleOrganizationChart"/>
    <dgm:cxn modelId="{1812BC26-1BAE-49C8-B622-431F7DF519F8}" type="presParOf" srcId="{15BD235A-3059-402F-9B00-A2BE860A2852}" destId="{427BA327-0A26-4BD7-BB6F-AE243A40F3B9}" srcOrd="3" destOrd="0" presId="urn:microsoft.com/office/officeart/2008/layout/HalfCircleOrganizationChart"/>
    <dgm:cxn modelId="{33B4369D-63DB-483C-AD88-AFDF6709F317}" type="presParOf" srcId="{E19E007A-EB51-4673-8B26-09A624C98E50}" destId="{F3A77961-0767-4DCD-818C-79E1BE36FABF}" srcOrd="1" destOrd="0" presId="urn:microsoft.com/office/officeart/2008/layout/HalfCircleOrganizationChart"/>
    <dgm:cxn modelId="{43D61357-98C7-4A1F-987D-BE966F2844BC}" type="presParOf" srcId="{F3A77961-0767-4DCD-818C-79E1BE36FABF}" destId="{DF9BA068-FA09-45F9-AEB8-A34225B115D0}" srcOrd="0" destOrd="0" presId="urn:microsoft.com/office/officeart/2008/layout/HalfCircleOrganizationChart"/>
    <dgm:cxn modelId="{186FA70E-C111-4096-8C60-96FA357191E3}" type="presParOf" srcId="{F3A77961-0767-4DCD-818C-79E1BE36FABF}" destId="{C716C3E9-37CB-40CC-B634-184A2C1F2FE8}" srcOrd="1" destOrd="0" presId="urn:microsoft.com/office/officeart/2008/layout/HalfCircleOrganizationChart"/>
    <dgm:cxn modelId="{F2ED9328-81B9-4749-8974-F6E5F0B45A25}" type="presParOf" srcId="{C716C3E9-37CB-40CC-B634-184A2C1F2FE8}" destId="{CF43CBAC-7B51-4B64-9115-87ADA89995A6}" srcOrd="0" destOrd="0" presId="urn:microsoft.com/office/officeart/2008/layout/HalfCircleOrganizationChart"/>
    <dgm:cxn modelId="{B0CD52DE-DC73-4F56-B4C6-994E36436A9D}" type="presParOf" srcId="{CF43CBAC-7B51-4B64-9115-87ADA89995A6}" destId="{A1901BD0-2988-434E-9905-8704396C69B0}" srcOrd="0" destOrd="0" presId="urn:microsoft.com/office/officeart/2008/layout/HalfCircleOrganizationChart"/>
    <dgm:cxn modelId="{671E6682-8154-404F-A8BB-8BE661AE1B44}" type="presParOf" srcId="{CF43CBAC-7B51-4B64-9115-87ADA89995A6}" destId="{A87951DF-80AA-4C32-B34F-8694C5A4EAA2}" srcOrd="1" destOrd="0" presId="urn:microsoft.com/office/officeart/2008/layout/HalfCircleOrganizationChart"/>
    <dgm:cxn modelId="{6BD5B74E-5202-4DA0-8973-09F511D15B1E}" type="presParOf" srcId="{CF43CBAC-7B51-4B64-9115-87ADA89995A6}" destId="{F4351940-187E-4C96-905F-4BF5836BAA02}" srcOrd="2" destOrd="0" presId="urn:microsoft.com/office/officeart/2008/layout/HalfCircleOrganizationChart"/>
    <dgm:cxn modelId="{A2B32F2D-33A8-4EC8-8C69-F26BDF700677}" type="presParOf" srcId="{CF43CBAC-7B51-4B64-9115-87ADA89995A6}" destId="{AA23EFA8-782C-400A-B716-C7FE6AFC9018}" srcOrd="3" destOrd="0" presId="urn:microsoft.com/office/officeart/2008/layout/HalfCircleOrganizationChart"/>
    <dgm:cxn modelId="{B45A01D1-6C80-4C9B-A369-200EED181887}" type="presParOf" srcId="{C716C3E9-37CB-40CC-B634-184A2C1F2FE8}" destId="{B0337F08-8C4B-458E-BB3D-FDC42B3020FA}" srcOrd="1" destOrd="0" presId="urn:microsoft.com/office/officeart/2008/layout/HalfCircleOrganizationChart"/>
    <dgm:cxn modelId="{FF76D5C4-A5DC-4CB3-B38E-65D72F3375CF}" type="presParOf" srcId="{C716C3E9-37CB-40CC-B634-184A2C1F2FE8}" destId="{8303C55C-D87D-4776-9F34-BBBBC5A02C29}" srcOrd="2" destOrd="0" presId="urn:microsoft.com/office/officeart/2008/layout/HalfCircleOrganizationChart"/>
    <dgm:cxn modelId="{1661ED4E-52F0-4BC0-B428-AF5DDD3522FA}" type="presParOf" srcId="{E19E007A-EB51-4673-8B26-09A624C98E50}" destId="{EEEDCE17-2BD9-46B1-8B75-DF6657DFE238}" srcOrd="2" destOrd="0" presId="urn:microsoft.com/office/officeart/2008/layout/HalfCircleOrganizationChart"/>
    <dgm:cxn modelId="{E751AB1A-E124-4AC9-95AD-5DC059034E1C}" type="presParOf" srcId="{37DE5042-3679-45E3-B67A-40CF9143F367}" destId="{9A51DBD6-1F51-426D-9E0D-DADF4B210D11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69527B-5BBE-4B0C-B561-4603E7832A64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718E2FDB-D744-458E-9296-5C18DC507384}">
      <dgm:prSet phldrT="[Text]" custT="1"/>
      <dgm:spPr/>
      <dgm:t>
        <a:bodyPr/>
        <a:lstStyle/>
        <a:p>
          <a:pPr algn="ctr"/>
          <a:r>
            <a:rPr lang="en-GB" sz="1600" dirty="0" smtClean="0"/>
            <a:t>Ownership Transfer</a:t>
          </a:r>
        </a:p>
        <a:p>
          <a:pPr algn="ctr"/>
          <a:r>
            <a:rPr lang="en-GB" sz="1200" dirty="0" smtClean="0"/>
            <a:t>(Dual perspective</a:t>
          </a:r>
          <a:r>
            <a:rPr lang="en-GB" sz="1600" dirty="0" smtClean="0"/>
            <a:t>)</a:t>
          </a:r>
          <a:endParaRPr lang="en-GB" sz="1600" dirty="0"/>
        </a:p>
      </dgm:t>
    </dgm:pt>
    <dgm:pt modelId="{E41D29FE-7E47-46EB-86A6-36AA9EDAECA1}" type="parTrans" cxnId="{69A477DA-24E6-46DB-805A-0674CD190608}">
      <dgm:prSet/>
      <dgm:spPr/>
      <dgm:t>
        <a:bodyPr/>
        <a:lstStyle/>
        <a:p>
          <a:endParaRPr lang="en-GB"/>
        </a:p>
      </dgm:t>
    </dgm:pt>
    <dgm:pt modelId="{359D7371-52D3-4D1D-B7FA-B411808C3F2D}" type="sibTrans" cxnId="{69A477DA-24E6-46DB-805A-0674CD190608}">
      <dgm:prSet/>
      <dgm:spPr/>
      <dgm:t>
        <a:bodyPr/>
        <a:lstStyle/>
        <a:p>
          <a:endParaRPr lang="en-GB"/>
        </a:p>
      </dgm:t>
    </dgm:pt>
    <dgm:pt modelId="{6575E277-D5BB-4122-9B5A-6529C006DE4A}">
      <dgm:prSet phldrT="[Text]" custT="1"/>
      <dgm:spPr/>
      <dgm:t>
        <a:bodyPr/>
        <a:lstStyle/>
        <a:p>
          <a:pPr algn="ctr"/>
          <a:r>
            <a:rPr lang="en-GB" sz="1600" dirty="0" smtClean="0"/>
            <a:t>Empowerment   to </a:t>
          </a:r>
          <a:r>
            <a:rPr lang="en-GB" sz="1600" dirty="0" smtClean="0"/>
            <a:t>Act in </a:t>
          </a:r>
          <a:r>
            <a:rPr lang="en-GB" sz="1600" dirty="0" smtClean="0"/>
            <a:t>Projects</a:t>
          </a:r>
        </a:p>
        <a:p>
          <a:pPr algn="ctr"/>
          <a:r>
            <a:rPr lang="en-GB" sz="1200" dirty="0" smtClean="0"/>
            <a:t>(Accountability culture)</a:t>
          </a:r>
          <a:endParaRPr lang="en-GB" sz="1200" dirty="0"/>
        </a:p>
      </dgm:t>
    </dgm:pt>
    <dgm:pt modelId="{D37BC6FF-0497-40C0-9560-555B953EE298}" type="parTrans" cxnId="{F0C307D5-8FE3-4D1E-8DBB-C547D5FB922B}">
      <dgm:prSet/>
      <dgm:spPr/>
      <dgm:t>
        <a:bodyPr/>
        <a:lstStyle/>
        <a:p>
          <a:endParaRPr lang="en-GB"/>
        </a:p>
      </dgm:t>
    </dgm:pt>
    <dgm:pt modelId="{82F4F31F-5621-4C48-995D-47391C7A9810}" type="sibTrans" cxnId="{F0C307D5-8FE3-4D1E-8DBB-C547D5FB922B}">
      <dgm:prSet/>
      <dgm:spPr/>
      <dgm:t>
        <a:bodyPr/>
        <a:lstStyle/>
        <a:p>
          <a:endParaRPr lang="en-GB"/>
        </a:p>
      </dgm:t>
    </dgm:pt>
    <dgm:pt modelId="{A7569C33-ECFD-4A26-B33D-218958D38E0C}">
      <dgm:prSet phldrT="[Text]" custT="1"/>
      <dgm:spPr/>
      <dgm:t>
        <a:bodyPr/>
        <a:lstStyle/>
        <a:p>
          <a:pPr algn="ctr"/>
          <a:r>
            <a:rPr lang="en-GB" sz="1600" dirty="0" smtClean="0"/>
            <a:t>Coaching by the Line Organization</a:t>
          </a:r>
        </a:p>
        <a:p>
          <a:pPr algn="ctr"/>
          <a:r>
            <a:rPr lang="en-GB" sz="1200" dirty="0" smtClean="0"/>
            <a:t>(No managing or directing)</a:t>
          </a:r>
          <a:endParaRPr lang="en-GB" sz="1200" dirty="0"/>
        </a:p>
      </dgm:t>
    </dgm:pt>
    <dgm:pt modelId="{08AD2786-FFA4-480B-92D5-6B4CB3BE3AA7}" type="parTrans" cxnId="{3E93707C-087E-49F3-AB2D-413E61FF2896}">
      <dgm:prSet/>
      <dgm:spPr/>
      <dgm:t>
        <a:bodyPr/>
        <a:lstStyle/>
        <a:p>
          <a:endParaRPr lang="en-GB"/>
        </a:p>
      </dgm:t>
    </dgm:pt>
    <dgm:pt modelId="{705C007F-441A-4ED1-A019-60E0F1F000F2}" type="sibTrans" cxnId="{3E93707C-087E-49F3-AB2D-413E61FF2896}">
      <dgm:prSet/>
      <dgm:spPr/>
      <dgm:t>
        <a:bodyPr/>
        <a:lstStyle/>
        <a:p>
          <a:endParaRPr lang="en-GB"/>
        </a:p>
      </dgm:t>
    </dgm:pt>
    <dgm:pt modelId="{DEBD2243-DE8D-4042-B865-1D7ADB4DAA1C}" type="pres">
      <dgm:prSet presAssocID="{6C69527B-5BBE-4B0C-B561-4603E7832A64}" presName="arrowDiagram" presStyleCnt="0">
        <dgm:presLayoutVars>
          <dgm:chMax val="5"/>
          <dgm:dir/>
          <dgm:resizeHandles val="exact"/>
        </dgm:presLayoutVars>
      </dgm:prSet>
      <dgm:spPr/>
    </dgm:pt>
    <dgm:pt modelId="{11200A9C-35C8-412B-B5B2-6038E1F97B99}" type="pres">
      <dgm:prSet presAssocID="{6C69527B-5BBE-4B0C-B561-4603E7832A64}" presName="arrow" presStyleLbl="bgShp" presStyleIdx="0" presStyleCnt="1"/>
      <dgm:spPr/>
    </dgm:pt>
    <dgm:pt modelId="{D7B15F30-112E-40BC-B30B-205207C2EDB6}" type="pres">
      <dgm:prSet presAssocID="{6C69527B-5BBE-4B0C-B561-4603E7832A64}" presName="arrowDiagram3" presStyleCnt="0"/>
      <dgm:spPr/>
    </dgm:pt>
    <dgm:pt modelId="{FD6F1773-3D03-4DE2-B11D-B67530A46039}" type="pres">
      <dgm:prSet presAssocID="{718E2FDB-D744-458E-9296-5C18DC507384}" presName="bullet3a" presStyleLbl="node1" presStyleIdx="0" presStyleCnt="3"/>
      <dgm:spPr/>
    </dgm:pt>
    <dgm:pt modelId="{F999E628-EC3A-414D-91E2-538CA07E6EE7}" type="pres">
      <dgm:prSet presAssocID="{718E2FDB-D744-458E-9296-5C18DC507384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1626E0F-DBA2-47EC-89E5-33876468C564}" type="pres">
      <dgm:prSet presAssocID="{6575E277-D5BB-4122-9B5A-6529C006DE4A}" presName="bullet3b" presStyleLbl="node1" presStyleIdx="1" presStyleCnt="3"/>
      <dgm:spPr/>
    </dgm:pt>
    <dgm:pt modelId="{36D70112-06B5-4280-9E87-894651B5A0C4}" type="pres">
      <dgm:prSet presAssocID="{6575E277-D5BB-4122-9B5A-6529C006DE4A}" presName="textBox3b" presStyleLbl="revTx" presStyleIdx="1" presStyleCnt="3" custScaleX="121753" custLinFactNeighborX="11364" custLinFactNeighborY="708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896C70D-9566-4CD0-B9D2-6D40C816C8A9}" type="pres">
      <dgm:prSet presAssocID="{A7569C33-ECFD-4A26-B33D-218958D38E0C}" presName="bullet3c" presStyleLbl="node1" presStyleIdx="2" presStyleCnt="3"/>
      <dgm:spPr/>
    </dgm:pt>
    <dgm:pt modelId="{66176EC9-4220-4FB8-8B2B-3430C8F4498B}" type="pres">
      <dgm:prSet presAssocID="{A7569C33-ECFD-4A26-B33D-218958D38E0C}" presName="textBox3c" presStyleLbl="revTx" presStyleIdx="2" presStyleCnt="3" custScaleX="142912" custLinFactNeighborX="14069" custLinFactNeighborY="-44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3E93707C-087E-49F3-AB2D-413E61FF2896}" srcId="{6C69527B-5BBE-4B0C-B561-4603E7832A64}" destId="{A7569C33-ECFD-4A26-B33D-218958D38E0C}" srcOrd="2" destOrd="0" parTransId="{08AD2786-FFA4-480B-92D5-6B4CB3BE3AA7}" sibTransId="{705C007F-441A-4ED1-A019-60E0F1F000F2}"/>
    <dgm:cxn modelId="{2B55AC23-AF0D-4BE7-9B8F-9DB275152A41}" type="presOf" srcId="{6C69527B-5BBE-4B0C-B561-4603E7832A64}" destId="{DEBD2243-DE8D-4042-B865-1D7ADB4DAA1C}" srcOrd="0" destOrd="0" presId="urn:microsoft.com/office/officeart/2005/8/layout/arrow2"/>
    <dgm:cxn modelId="{46C6C2E9-5950-47AE-8BDB-39732A9CC29F}" type="presOf" srcId="{718E2FDB-D744-458E-9296-5C18DC507384}" destId="{F999E628-EC3A-414D-91E2-538CA07E6EE7}" srcOrd="0" destOrd="0" presId="urn:microsoft.com/office/officeart/2005/8/layout/arrow2"/>
    <dgm:cxn modelId="{F0C307D5-8FE3-4D1E-8DBB-C547D5FB922B}" srcId="{6C69527B-5BBE-4B0C-B561-4603E7832A64}" destId="{6575E277-D5BB-4122-9B5A-6529C006DE4A}" srcOrd="1" destOrd="0" parTransId="{D37BC6FF-0497-40C0-9560-555B953EE298}" sibTransId="{82F4F31F-5621-4C48-995D-47391C7A9810}"/>
    <dgm:cxn modelId="{69A477DA-24E6-46DB-805A-0674CD190608}" srcId="{6C69527B-5BBE-4B0C-B561-4603E7832A64}" destId="{718E2FDB-D744-458E-9296-5C18DC507384}" srcOrd="0" destOrd="0" parTransId="{E41D29FE-7E47-46EB-86A6-36AA9EDAECA1}" sibTransId="{359D7371-52D3-4D1D-B7FA-B411808C3F2D}"/>
    <dgm:cxn modelId="{725E87F4-8014-4B5B-9765-38464A9C9F4E}" type="presOf" srcId="{A7569C33-ECFD-4A26-B33D-218958D38E0C}" destId="{66176EC9-4220-4FB8-8B2B-3430C8F4498B}" srcOrd="0" destOrd="0" presId="urn:microsoft.com/office/officeart/2005/8/layout/arrow2"/>
    <dgm:cxn modelId="{186425F9-2D0A-424F-9331-977EF30F5AD3}" type="presOf" srcId="{6575E277-D5BB-4122-9B5A-6529C006DE4A}" destId="{36D70112-06B5-4280-9E87-894651B5A0C4}" srcOrd="0" destOrd="0" presId="urn:microsoft.com/office/officeart/2005/8/layout/arrow2"/>
    <dgm:cxn modelId="{881567EA-D336-4E88-9B8C-0A65C8AF4CF4}" type="presParOf" srcId="{DEBD2243-DE8D-4042-B865-1D7ADB4DAA1C}" destId="{11200A9C-35C8-412B-B5B2-6038E1F97B99}" srcOrd="0" destOrd="0" presId="urn:microsoft.com/office/officeart/2005/8/layout/arrow2"/>
    <dgm:cxn modelId="{DC9FF337-96BC-48DE-B9F5-130781912BEE}" type="presParOf" srcId="{DEBD2243-DE8D-4042-B865-1D7ADB4DAA1C}" destId="{D7B15F30-112E-40BC-B30B-205207C2EDB6}" srcOrd="1" destOrd="0" presId="urn:microsoft.com/office/officeart/2005/8/layout/arrow2"/>
    <dgm:cxn modelId="{B3268E13-21DC-4624-84FD-2EB089AF4148}" type="presParOf" srcId="{D7B15F30-112E-40BC-B30B-205207C2EDB6}" destId="{FD6F1773-3D03-4DE2-B11D-B67530A46039}" srcOrd="0" destOrd="0" presId="urn:microsoft.com/office/officeart/2005/8/layout/arrow2"/>
    <dgm:cxn modelId="{E46AAFB0-2FCD-4335-886E-4C4AAFC6B750}" type="presParOf" srcId="{D7B15F30-112E-40BC-B30B-205207C2EDB6}" destId="{F999E628-EC3A-414D-91E2-538CA07E6EE7}" srcOrd="1" destOrd="0" presId="urn:microsoft.com/office/officeart/2005/8/layout/arrow2"/>
    <dgm:cxn modelId="{3532365C-4B0B-4D6C-B992-2671FAF2C366}" type="presParOf" srcId="{D7B15F30-112E-40BC-B30B-205207C2EDB6}" destId="{71626E0F-DBA2-47EC-89E5-33876468C564}" srcOrd="2" destOrd="0" presId="urn:microsoft.com/office/officeart/2005/8/layout/arrow2"/>
    <dgm:cxn modelId="{F00A12B6-68E0-4CB2-BD24-D334F2AEDFF6}" type="presParOf" srcId="{D7B15F30-112E-40BC-B30B-205207C2EDB6}" destId="{36D70112-06B5-4280-9E87-894651B5A0C4}" srcOrd="3" destOrd="0" presId="urn:microsoft.com/office/officeart/2005/8/layout/arrow2"/>
    <dgm:cxn modelId="{32E9564E-0B83-4C43-B868-2E42D4059D99}" type="presParOf" srcId="{D7B15F30-112E-40BC-B30B-205207C2EDB6}" destId="{0896C70D-9566-4CD0-B9D2-6D40C816C8A9}" srcOrd="4" destOrd="0" presId="urn:microsoft.com/office/officeart/2005/8/layout/arrow2"/>
    <dgm:cxn modelId="{86A94305-0F93-4C9D-BA8A-3D609BAE1D0F}" type="presParOf" srcId="{D7B15F30-112E-40BC-B30B-205207C2EDB6}" destId="{66176EC9-4220-4FB8-8B2B-3430C8F4498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9BA068-FA09-45F9-AEB8-A34225B115D0}">
      <dsp:nvSpPr>
        <dsp:cNvPr id="0" name=""/>
        <dsp:cNvSpPr/>
      </dsp:nvSpPr>
      <dsp:spPr>
        <a:xfrm>
          <a:off x="2837721" y="1768805"/>
          <a:ext cx="672285" cy="4384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8446"/>
              </a:lnTo>
              <a:lnTo>
                <a:pt x="672285" y="4384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50737A-5909-4D3D-8B38-1C78D4EB9E82}">
      <dsp:nvSpPr>
        <dsp:cNvPr id="0" name=""/>
        <dsp:cNvSpPr/>
      </dsp:nvSpPr>
      <dsp:spPr>
        <a:xfrm>
          <a:off x="1953519" y="731147"/>
          <a:ext cx="884201" cy="306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3456"/>
              </a:lnTo>
              <a:lnTo>
                <a:pt x="884201" y="153456"/>
              </a:lnTo>
              <a:lnTo>
                <a:pt x="884201" y="306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CA997-2E00-4685-9156-1363874127DD}">
      <dsp:nvSpPr>
        <dsp:cNvPr id="0" name=""/>
        <dsp:cNvSpPr/>
      </dsp:nvSpPr>
      <dsp:spPr>
        <a:xfrm>
          <a:off x="1069318" y="1768805"/>
          <a:ext cx="672285" cy="4384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8446"/>
              </a:lnTo>
              <a:lnTo>
                <a:pt x="672285" y="4384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DFD058-D999-4CD7-9636-72D57F8F4EE1}">
      <dsp:nvSpPr>
        <dsp:cNvPr id="0" name=""/>
        <dsp:cNvSpPr/>
      </dsp:nvSpPr>
      <dsp:spPr>
        <a:xfrm>
          <a:off x="1069318" y="731147"/>
          <a:ext cx="884201" cy="306912"/>
        </a:xfrm>
        <a:custGeom>
          <a:avLst/>
          <a:gdLst/>
          <a:ahLst/>
          <a:cxnLst/>
          <a:rect l="0" t="0" r="0" b="0"/>
          <a:pathLst>
            <a:path>
              <a:moveTo>
                <a:pt x="884201" y="0"/>
              </a:moveTo>
              <a:lnTo>
                <a:pt x="884201" y="153456"/>
              </a:lnTo>
              <a:lnTo>
                <a:pt x="0" y="153456"/>
              </a:lnTo>
              <a:lnTo>
                <a:pt x="0" y="30691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0D763C-AFCC-4EAA-8819-24364A97E697}">
      <dsp:nvSpPr>
        <dsp:cNvPr id="0" name=""/>
        <dsp:cNvSpPr/>
      </dsp:nvSpPr>
      <dsp:spPr>
        <a:xfrm>
          <a:off x="1588147" y="402"/>
          <a:ext cx="730744" cy="730744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817AE4-4B49-4773-A6B5-3891A5D6EFA5}">
      <dsp:nvSpPr>
        <dsp:cNvPr id="0" name=""/>
        <dsp:cNvSpPr/>
      </dsp:nvSpPr>
      <dsp:spPr>
        <a:xfrm>
          <a:off x="1588147" y="402"/>
          <a:ext cx="730744" cy="730744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9A78E3-3932-4043-A56B-A5144ECAF867}">
      <dsp:nvSpPr>
        <dsp:cNvPr id="0" name=""/>
        <dsp:cNvSpPr/>
      </dsp:nvSpPr>
      <dsp:spPr>
        <a:xfrm>
          <a:off x="1222774" y="131936"/>
          <a:ext cx="1461489" cy="4676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Captain</a:t>
          </a:r>
          <a:endParaRPr lang="en-GB" sz="1700" kern="1200" dirty="0"/>
        </a:p>
      </dsp:txBody>
      <dsp:txXfrm>
        <a:off x="1222774" y="131936"/>
        <a:ext cx="1461489" cy="467676"/>
      </dsp:txXfrm>
    </dsp:sp>
    <dsp:sp modelId="{19B3D09A-F477-4B49-99EB-332382B8D374}">
      <dsp:nvSpPr>
        <dsp:cNvPr id="0" name=""/>
        <dsp:cNvSpPr/>
      </dsp:nvSpPr>
      <dsp:spPr>
        <a:xfrm>
          <a:off x="703945" y="1038060"/>
          <a:ext cx="730744" cy="730744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D50853-0EE5-4397-AC0E-456542104090}">
      <dsp:nvSpPr>
        <dsp:cNvPr id="0" name=""/>
        <dsp:cNvSpPr/>
      </dsp:nvSpPr>
      <dsp:spPr>
        <a:xfrm>
          <a:off x="703945" y="1038060"/>
          <a:ext cx="730744" cy="730744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A2CFB-E7CF-4474-B13C-20E92D22130F}">
      <dsp:nvSpPr>
        <dsp:cNvPr id="0" name=""/>
        <dsp:cNvSpPr/>
      </dsp:nvSpPr>
      <dsp:spPr>
        <a:xfrm>
          <a:off x="338573" y="1169594"/>
          <a:ext cx="1461489" cy="4676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Chief Officer</a:t>
          </a:r>
          <a:endParaRPr lang="en-GB" sz="1700" kern="1200" dirty="0"/>
        </a:p>
      </dsp:txBody>
      <dsp:txXfrm>
        <a:off x="338573" y="1169594"/>
        <a:ext cx="1461489" cy="467676"/>
      </dsp:txXfrm>
    </dsp:sp>
    <dsp:sp modelId="{8B3EB830-FCE6-4344-82EB-5C15616046B8}">
      <dsp:nvSpPr>
        <dsp:cNvPr id="0" name=""/>
        <dsp:cNvSpPr/>
      </dsp:nvSpPr>
      <dsp:spPr>
        <a:xfrm>
          <a:off x="1653914" y="2075718"/>
          <a:ext cx="730744" cy="730744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1CD015-1642-486E-853A-7C46B34F27C1}">
      <dsp:nvSpPr>
        <dsp:cNvPr id="0" name=""/>
        <dsp:cNvSpPr/>
      </dsp:nvSpPr>
      <dsp:spPr>
        <a:xfrm>
          <a:off x="1653914" y="2075718"/>
          <a:ext cx="730744" cy="730744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BA9A30-E6C8-4C37-BFDF-DC6C18B7245D}">
      <dsp:nvSpPr>
        <dsp:cNvPr id="0" name=""/>
        <dsp:cNvSpPr/>
      </dsp:nvSpPr>
      <dsp:spPr>
        <a:xfrm>
          <a:off x="1288541" y="2207252"/>
          <a:ext cx="1461489" cy="4676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2</a:t>
          </a:r>
          <a:r>
            <a:rPr lang="en-GB" sz="1700" kern="1200" baseline="30000" dirty="0" smtClean="0"/>
            <a:t>nd</a:t>
          </a:r>
          <a:r>
            <a:rPr lang="en-GB" sz="1700" kern="1200" dirty="0" smtClean="0"/>
            <a:t> Officer</a:t>
          </a:r>
          <a:endParaRPr lang="en-GB" sz="1700" kern="1200" dirty="0"/>
        </a:p>
      </dsp:txBody>
      <dsp:txXfrm>
        <a:off x="1288541" y="2207252"/>
        <a:ext cx="1461489" cy="467676"/>
      </dsp:txXfrm>
    </dsp:sp>
    <dsp:sp modelId="{A77CD229-5BB6-4BA1-B3D2-2FFE3A71675E}">
      <dsp:nvSpPr>
        <dsp:cNvPr id="0" name=""/>
        <dsp:cNvSpPr/>
      </dsp:nvSpPr>
      <dsp:spPr>
        <a:xfrm>
          <a:off x="2472348" y="1038060"/>
          <a:ext cx="730744" cy="730744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DB3DD2-52D2-43CA-848D-8145F8FB8653}">
      <dsp:nvSpPr>
        <dsp:cNvPr id="0" name=""/>
        <dsp:cNvSpPr/>
      </dsp:nvSpPr>
      <dsp:spPr>
        <a:xfrm>
          <a:off x="2472348" y="1038060"/>
          <a:ext cx="730744" cy="730744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AFF3D2-4D8B-42D7-B38C-9F1A71F964AC}">
      <dsp:nvSpPr>
        <dsp:cNvPr id="0" name=""/>
        <dsp:cNvSpPr/>
      </dsp:nvSpPr>
      <dsp:spPr>
        <a:xfrm>
          <a:off x="2106976" y="1169594"/>
          <a:ext cx="1461489" cy="4676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Chief Engineer</a:t>
          </a:r>
          <a:endParaRPr lang="en-GB" sz="1700" kern="1200" dirty="0"/>
        </a:p>
      </dsp:txBody>
      <dsp:txXfrm>
        <a:off x="2106976" y="1169594"/>
        <a:ext cx="1461489" cy="467676"/>
      </dsp:txXfrm>
    </dsp:sp>
    <dsp:sp modelId="{A87951DF-80AA-4C32-B34F-8694C5A4EAA2}">
      <dsp:nvSpPr>
        <dsp:cNvPr id="0" name=""/>
        <dsp:cNvSpPr/>
      </dsp:nvSpPr>
      <dsp:spPr>
        <a:xfrm>
          <a:off x="3422317" y="2075718"/>
          <a:ext cx="730744" cy="730744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351940-187E-4C96-905F-4BF5836BAA02}">
      <dsp:nvSpPr>
        <dsp:cNvPr id="0" name=""/>
        <dsp:cNvSpPr/>
      </dsp:nvSpPr>
      <dsp:spPr>
        <a:xfrm>
          <a:off x="3422317" y="2075718"/>
          <a:ext cx="730744" cy="730744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901BD0-2988-434E-9905-8704396C69B0}">
      <dsp:nvSpPr>
        <dsp:cNvPr id="0" name=""/>
        <dsp:cNvSpPr/>
      </dsp:nvSpPr>
      <dsp:spPr>
        <a:xfrm>
          <a:off x="3056944" y="2207252"/>
          <a:ext cx="1461489" cy="4676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2</a:t>
          </a:r>
          <a:r>
            <a:rPr lang="en-GB" sz="1700" kern="1200" baseline="30000" dirty="0" smtClean="0"/>
            <a:t>nd</a:t>
          </a:r>
          <a:r>
            <a:rPr lang="en-GB" sz="1700" kern="1200" dirty="0" smtClean="0"/>
            <a:t> Engineer</a:t>
          </a:r>
          <a:endParaRPr lang="en-GB" sz="1700" kern="1200" dirty="0"/>
        </a:p>
      </dsp:txBody>
      <dsp:txXfrm>
        <a:off x="3056944" y="2207252"/>
        <a:ext cx="1461489" cy="4676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200A9C-35C8-412B-B5B2-6038E1F97B99}">
      <dsp:nvSpPr>
        <dsp:cNvPr id="0" name=""/>
        <dsp:cNvSpPr/>
      </dsp:nvSpPr>
      <dsp:spPr>
        <a:xfrm>
          <a:off x="0" y="126999"/>
          <a:ext cx="6096000" cy="381000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F1773-3D03-4DE2-B11D-B67530A46039}">
      <dsp:nvSpPr>
        <dsp:cNvPr id="0" name=""/>
        <dsp:cNvSpPr/>
      </dsp:nvSpPr>
      <dsp:spPr>
        <a:xfrm>
          <a:off x="774192" y="2756661"/>
          <a:ext cx="158496" cy="1584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99E628-EC3A-414D-91E2-538CA07E6EE7}">
      <dsp:nvSpPr>
        <dsp:cNvPr id="0" name=""/>
        <dsp:cNvSpPr/>
      </dsp:nvSpPr>
      <dsp:spPr>
        <a:xfrm>
          <a:off x="853440" y="2835910"/>
          <a:ext cx="1420368" cy="1101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984" tIns="0" rIns="0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Ownership Transfe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(Dual perspective</a:t>
          </a:r>
          <a:r>
            <a:rPr lang="en-GB" sz="1600" kern="1200" dirty="0" smtClean="0"/>
            <a:t>)</a:t>
          </a:r>
          <a:endParaRPr lang="en-GB" sz="1600" kern="1200" dirty="0"/>
        </a:p>
      </dsp:txBody>
      <dsp:txXfrm>
        <a:off x="853440" y="2835910"/>
        <a:ext cx="1420368" cy="1101090"/>
      </dsp:txXfrm>
    </dsp:sp>
    <dsp:sp modelId="{71626E0F-DBA2-47EC-89E5-33876468C564}">
      <dsp:nvSpPr>
        <dsp:cNvPr id="0" name=""/>
        <dsp:cNvSpPr/>
      </dsp:nvSpPr>
      <dsp:spPr>
        <a:xfrm>
          <a:off x="2173224" y="1721103"/>
          <a:ext cx="286512" cy="28651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D70112-06B5-4280-9E87-894651B5A0C4}">
      <dsp:nvSpPr>
        <dsp:cNvPr id="0" name=""/>
        <dsp:cNvSpPr/>
      </dsp:nvSpPr>
      <dsp:spPr>
        <a:xfrm>
          <a:off x="2323612" y="1991359"/>
          <a:ext cx="1781295" cy="2072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1817" tIns="0" rIns="0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Empowerment   to </a:t>
          </a:r>
          <a:r>
            <a:rPr lang="en-GB" sz="1600" kern="1200" dirty="0" smtClean="0"/>
            <a:t>Act in </a:t>
          </a:r>
          <a:r>
            <a:rPr lang="en-GB" sz="1600" kern="1200" dirty="0" smtClean="0"/>
            <a:t>Projects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(Accountability culture)</a:t>
          </a:r>
          <a:endParaRPr lang="en-GB" sz="1200" kern="1200" dirty="0"/>
        </a:p>
      </dsp:txBody>
      <dsp:txXfrm>
        <a:off x="2323612" y="1991359"/>
        <a:ext cx="1781295" cy="2072640"/>
      </dsp:txXfrm>
    </dsp:sp>
    <dsp:sp modelId="{0896C70D-9566-4CD0-B9D2-6D40C816C8A9}">
      <dsp:nvSpPr>
        <dsp:cNvPr id="0" name=""/>
        <dsp:cNvSpPr/>
      </dsp:nvSpPr>
      <dsp:spPr>
        <a:xfrm>
          <a:off x="3855720" y="1090929"/>
          <a:ext cx="396240" cy="39624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176EC9-4220-4FB8-8B2B-3430C8F4498B}">
      <dsp:nvSpPr>
        <dsp:cNvPr id="0" name=""/>
        <dsp:cNvSpPr/>
      </dsp:nvSpPr>
      <dsp:spPr>
        <a:xfrm>
          <a:off x="3945765" y="1277187"/>
          <a:ext cx="2090859" cy="2647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959" tIns="0" rIns="0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smtClean="0"/>
            <a:t>Coaching by the Line Organizatio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(No managing or directing)</a:t>
          </a:r>
          <a:endParaRPr lang="en-GB" sz="1200" kern="1200" dirty="0"/>
        </a:p>
      </dsp:txBody>
      <dsp:txXfrm>
        <a:off x="3945765" y="1277187"/>
        <a:ext cx="2090859" cy="26479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735763" cy="673364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7572" tIns="43786" rIns="87572" bIns="43786" anchor="ctr"/>
          <a:lstStyle/>
          <a:p>
            <a:endParaRPr lang="en-US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83209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t" anchorCtr="0" compatLnSpc="1">
            <a:prstTxWarp prst="textNoShape">
              <a:avLst/>
            </a:prstTxWarp>
          </a:bodyPr>
          <a:lstStyle>
            <a:lvl1pPr defTabSz="90308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42012" y="0"/>
            <a:ext cx="3093751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t" anchorCtr="0" compatLnSpc="1">
            <a:prstTxWarp prst="textNoShape">
              <a:avLst/>
            </a:prstTxWarp>
          </a:bodyPr>
          <a:lstStyle>
            <a:lvl1pPr algn="r" defTabSz="903087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33743"/>
            <a:ext cx="3083209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b" anchorCtr="0" compatLnSpc="1">
            <a:prstTxWarp prst="textNoShape">
              <a:avLst/>
            </a:prstTxWarp>
          </a:bodyPr>
          <a:lstStyle>
            <a:lvl1pPr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42012" y="9333743"/>
            <a:ext cx="3093751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b" anchorCtr="0" compatLnSpc="1">
            <a:prstTxWarp prst="textNoShape">
              <a:avLst/>
            </a:prstTxWarp>
          </a:bodyPr>
          <a:lstStyle>
            <a:lvl1pPr algn="r"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448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83209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t" anchorCtr="0" compatLnSpc="1">
            <a:prstTxWarp prst="textNoShape">
              <a:avLst/>
            </a:prstTxWarp>
          </a:bodyPr>
          <a:lstStyle>
            <a:lvl1pPr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52556" y="0"/>
            <a:ext cx="3081702" cy="532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t" anchorCtr="0" compatLnSpc="1">
            <a:prstTxWarp prst="textNoShape">
              <a:avLst/>
            </a:prstTxWarp>
          </a:bodyPr>
          <a:lstStyle>
            <a:lvl1pPr algn="r"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41363"/>
            <a:ext cx="4930775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5931" y="4649272"/>
            <a:ext cx="6283901" cy="4401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33743"/>
            <a:ext cx="3083209" cy="531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b" anchorCtr="0" compatLnSpc="1">
            <a:prstTxWarp prst="textNoShape">
              <a:avLst/>
            </a:prstTxWarp>
          </a:bodyPr>
          <a:lstStyle>
            <a:lvl1pPr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52556" y="9333743"/>
            <a:ext cx="3081702" cy="531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66" tIns="142266" rIns="142266" bIns="142266" numCol="1" anchor="b" anchorCtr="0" compatLnSpc="1">
            <a:prstTxWarp prst="textNoShape">
              <a:avLst/>
            </a:prstTxWarp>
          </a:bodyPr>
          <a:lstStyle>
            <a:lvl1pPr algn="r" defTabSz="903087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9292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3288" y="741363"/>
            <a:ext cx="4930775" cy="3698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61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34.xml"/><Relationship Id="rId7" Type="http://schemas.openxmlformats.org/officeDocument/2006/relationships/image" Target="../media/image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customXml" Target="../../customXml/item1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customXml" Target="../../customXml/item37.xml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customXml" Target="../../customXml/item14.xml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customXml" Target="../../customXml/item2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customXml" Target="../../customXml/item4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customXml" Target="../../customXml/item2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customXml" Target="../../customXml/item48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customXml" Target="../../customXml/item20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customXml" Target="../../customXml/item4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customXml" Target="../../customXml/item4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1.xml"/><Relationship Id="rId4" Type="http://schemas.openxmlformats.org/officeDocument/2006/relationships/tags" Target="../tags/tag12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customXml" Target="../../customXml/item3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4" Type="http://schemas.openxmlformats.org/officeDocument/2006/relationships/image" Target="../media/image8.w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0.xml"/><Relationship Id="rId4" Type="http://schemas.openxmlformats.org/officeDocument/2006/relationships/image" Target="../media/image2.w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5.xml"/><Relationship Id="rId11" Type="http://schemas.openxmlformats.org/officeDocument/2006/relationships/image" Target="../media/image11.jpeg"/><Relationship Id="rId5" Type="http://schemas.openxmlformats.org/officeDocument/2006/relationships/tags" Target="../tags/tag134.xml"/><Relationship Id="rId10" Type="http://schemas.openxmlformats.org/officeDocument/2006/relationships/image" Target="../media/image10.emf"/><Relationship Id="rId4" Type="http://schemas.openxmlformats.org/officeDocument/2006/relationships/tags" Target="../tags/tag133.xml"/><Relationship Id="rId9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8.wmf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2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6.wmf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12.jpe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8.w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3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6.wmf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13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8.wmf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14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8.w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5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6.wmf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15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8.wmf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customXml" Target="../../customXml/item2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5.xml"/><Relationship Id="rId1" Type="http://schemas.openxmlformats.org/officeDocument/2006/relationships/customXml" Target="../../customXml/item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customXml" Target="../../customXml/item33.xml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2" Type="http://schemas.openxmlformats.org/officeDocument/2006/relationships/tags" Target="../tags/tag214.xml"/><Relationship Id="rId1" Type="http://schemas.openxmlformats.org/officeDocument/2006/relationships/customXml" Target="../../customXml/item4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customXml" Target="../../customXml/item2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0.xml"/><Relationship Id="rId4" Type="http://schemas.openxmlformats.org/officeDocument/2006/relationships/tags" Target="../tags/tag21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21.xml"/><Relationship Id="rId1" Type="http://schemas.openxmlformats.org/officeDocument/2006/relationships/customXml" Target="../../customXml/item3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customXml" Target="../../customXml/item35.xml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.vml"/><Relationship Id="rId6" Type="http://schemas.openxmlformats.org/officeDocument/2006/relationships/tags" Target="../tags/tag43.xml"/><Relationship Id="rId11" Type="http://schemas.openxmlformats.org/officeDocument/2006/relationships/image" Target="../media/image5.jpeg"/><Relationship Id="rId5" Type="http://schemas.openxmlformats.org/officeDocument/2006/relationships/tags" Target="../tags/tag42.xml"/><Relationship Id="rId10" Type="http://schemas.openxmlformats.org/officeDocument/2006/relationships/image" Target="../media/image4.emf"/><Relationship Id="rId4" Type="http://schemas.openxmlformats.org/officeDocument/2006/relationships/tags" Target="../tags/tag41.xml"/><Relationship Id="rId9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customXml" Target="../../customXml/item3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customXml" Target="../../customXml/item3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customXml" Target="../../customXml/item1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38.xml"/><Relationship Id="rId4" Type="http://schemas.openxmlformats.org/officeDocument/2006/relationships/tags" Target="../tags/tag237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2" Type="http://schemas.openxmlformats.org/officeDocument/2006/relationships/tags" Target="../tags/tag239.xml"/><Relationship Id="rId1" Type="http://schemas.openxmlformats.org/officeDocument/2006/relationships/customXml" Target="../../customXml/item7.xml"/><Relationship Id="rId6" Type="http://schemas.openxmlformats.org/officeDocument/2006/relationships/tags" Target="../tags/tag243.xml"/><Relationship Id="rId5" Type="http://schemas.openxmlformats.org/officeDocument/2006/relationships/tags" Target="../tags/tag242.xml"/><Relationship Id="rId4" Type="http://schemas.openxmlformats.org/officeDocument/2006/relationships/tags" Target="../tags/tag24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4" Type="http://schemas.openxmlformats.org/officeDocument/2006/relationships/image" Target="../media/image8.w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6.wmf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47.xml"/><Relationship Id="rId1" Type="http://schemas.openxmlformats.org/officeDocument/2006/relationships/customXml" Target="../../customXml/item32.xml"/><Relationship Id="rId6" Type="http://schemas.openxmlformats.org/officeDocument/2006/relationships/tags" Target="../tags/tag251.xml"/><Relationship Id="rId11" Type="http://schemas.openxmlformats.org/officeDocument/2006/relationships/tags" Target="../tags/tag256.xml"/><Relationship Id="rId5" Type="http://schemas.openxmlformats.org/officeDocument/2006/relationships/tags" Target="../tags/tag250.xml"/><Relationship Id="rId10" Type="http://schemas.openxmlformats.org/officeDocument/2006/relationships/tags" Target="../tags/tag255.xml"/><Relationship Id="rId4" Type="http://schemas.openxmlformats.org/officeDocument/2006/relationships/tags" Target="../tags/tag249.xml"/><Relationship Id="rId9" Type="http://schemas.openxmlformats.org/officeDocument/2006/relationships/tags" Target="../tags/tag254.xml"/><Relationship Id="rId14" Type="http://schemas.openxmlformats.org/officeDocument/2006/relationships/image" Target="../media/image16.jpe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25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57.xml"/><Relationship Id="rId1" Type="http://schemas.openxmlformats.org/officeDocument/2006/relationships/customXml" Target="../../customXml/item13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customXml" Target="../../customXml/item36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6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5.xml"/><Relationship Id="rId1" Type="http://schemas.openxmlformats.org/officeDocument/2006/relationships/customXml" Target="../../customXml/item1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8.w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.jp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8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customXml" Target="../../customXml/item4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6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customXml" Target="../../customXml/item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2.xml"/><Relationship Id="rId4" Type="http://schemas.openxmlformats.org/officeDocument/2006/relationships/tags" Target="../tags/tag27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customXml" Target="../../customXml/item12.xml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customXml" Target="../../customXml/item2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7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customXml" Target="../../customXml/item2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1.xml"/><Relationship Id="rId4" Type="http://schemas.openxmlformats.org/officeDocument/2006/relationships/tags" Target="../tags/tag28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5.xml"/><Relationship Id="rId4" Type="http://schemas.openxmlformats.org/officeDocument/2006/relationships/tags" Target="../tags/tag28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customXml" Target="../../customXml/item43.xml"/><Relationship Id="rId6" Type="http://schemas.openxmlformats.org/officeDocument/2006/relationships/tags" Target="../tags/tag290.xml"/><Relationship Id="rId5" Type="http://schemas.openxmlformats.org/officeDocument/2006/relationships/tags" Target="../tags/tag289.xml"/><Relationship Id="rId4" Type="http://schemas.openxmlformats.org/officeDocument/2006/relationships/tags" Target="../tags/tag288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2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92.xml"/><Relationship Id="rId1" Type="http://schemas.openxmlformats.org/officeDocument/2006/relationships/customXml" Target="../../customXml/item24.xml"/><Relationship Id="rId6" Type="http://schemas.openxmlformats.org/officeDocument/2006/relationships/tags" Target="../tags/tag296.xml"/><Relationship Id="rId5" Type="http://schemas.openxmlformats.org/officeDocument/2006/relationships/tags" Target="../tags/tag295.xml"/><Relationship Id="rId4" Type="http://schemas.openxmlformats.org/officeDocument/2006/relationships/tags" Target="../tags/tag29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customXml" Target="../../customXml/item2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9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0.xml"/><Relationship Id="rId1" Type="http://schemas.openxmlformats.org/officeDocument/2006/relationships/customXml" Target="../../customXml/item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8.w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customXml" Target="../../customXml/item2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07.xml"/><Relationship Id="rId4" Type="http://schemas.openxmlformats.org/officeDocument/2006/relationships/tags" Target="../tags/tag30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customXml" Target="../../customXml/item2.xml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2" Type="http://schemas.openxmlformats.org/officeDocument/2006/relationships/tags" Target="../tags/tag310.xml"/><Relationship Id="rId1" Type="http://schemas.openxmlformats.org/officeDocument/2006/relationships/customXml" Target="../../customXml/item1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314.xml"/><Relationship Id="rId2" Type="http://schemas.openxmlformats.org/officeDocument/2006/relationships/tags" Target="../tags/tag313.xml"/><Relationship Id="rId1" Type="http://schemas.openxmlformats.org/officeDocument/2006/relationships/customXml" Target="../../customXml/item1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16.xml"/><Relationship Id="rId4" Type="http://schemas.openxmlformats.org/officeDocument/2006/relationships/tags" Target="../tags/tag31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customXml" Target="../../customXml/item3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20.xml"/><Relationship Id="rId4" Type="http://schemas.openxmlformats.org/officeDocument/2006/relationships/tags" Target="../tags/tag319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22.xml"/><Relationship Id="rId7" Type="http://schemas.openxmlformats.org/officeDocument/2006/relationships/tags" Target="../tags/tag326.xml"/><Relationship Id="rId2" Type="http://schemas.openxmlformats.org/officeDocument/2006/relationships/tags" Target="../tags/tag321.xml"/><Relationship Id="rId1" Type="http://schemas.openxmlformats.org/officeDocument/2006/relationships/customXml" Target="../../customXml/item5.xml"/><Relationship Id="rId6" Type="http://schemas.openxmlformats.org/officeDocument/2006/relationships/tags" Target="../tags/tag325.xml"/><Relationship Id="rId5" Type="http://schemas.openxmlformats.org/officeDocument/2006/relationships/tags" Target="../tags/tag324.xml"/><Relationship Id="rId4" Type="http://schemas.openxmlformats.org/officeDocument/2006/relationships/tags" Target="../tags/tag32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4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8" descr="120731-OMTC-4575_GB - JPG for Web RGB (1600px)_777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9" t="14632" r="17087" b="30190"/>
          <a:stretch>
            <a:fillRect/>
          </a:stretch>
        </p:blipFill>
        <p:spPr bwMode="auto">
          <a:xfrm>
            <a:off x="0" y="2"/>
            <a:ext cx="9145588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cdtPicture 10 Id11" descr="SIE_Logo_Layer_Petrol_RGB_A3_76mm.w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1" y="2"/>
            <a:ext cx="1728788" cy="968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dtText Box 133 Id2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156326" y="6165850"/>
            <a:ext cx="29876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44000" rIns="396000" bIns="0" anchor="ctr"/>
          <a:lstStyle>
            <a:lvl1pPr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1000" b="1" smtClean="0">
                <a:solidFill>
                  <a:srgbClr val="000000"/>
                </a:solidFill>
                <a:ea typeface="ＭＳ Ｐゴシック"/>
              </a:rPr>
              <a:t>siemens.com/answers</a:t>
            </a:r>
          </a:p>
        </p:txBody>
      </p:sp>
      <p:sp>
        <p:nvSpPr>
          <p:cNvPr id="8" name="cdtText Box 101 Id1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/>
          <a:lstStyle>
            <a:lvl1pPr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sz="1100" b="1" smtClean="0">
              <a:solidFill>
                <a:srgbClr val="990000"/>
              </a:solidFill>
              <a:ea typeface="ＭＳ Ｐゴシック"/>
            </a:endParaRPr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</p:nvPr>
        </p:nvSpPr>
        <p:spPr bwMode="gray">
          <a:xfrm>
            <a:off x="250827" y="4511385"/>
            <a:ext cx="8893175" cy="1485567"/>
          </a:xfrm>
          <a:solidFill>
            <a:srgbClr val="879BAA"/>
          </a:solidFill>
        </p:spPr>
        <p:txBody>
          <a:bodyPr lIns="270000" tIns="144000" rIns="396000" bIns="108000" anchor="t">
            <a:spAutoFit/>
          </a:bodyPr>
          <a:lstStyle>
            <a:lvl1pPr>
              <a:defRPr sz="4000" baseline="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50827" y="4118300"/>
            <a:ext cx="8893175" cy="393082"/>
          </a:xfrm>
          <a:solidFill>
            <a:srgbClr val="233746">
              <a:alpha val="65000"/>
            </a:srgbClr>
          </a:solidFill>
        </p:spPr>
        <p:txBody>
          <a:bodyPr lIns="270000" tIns="18000" rIns="396000" bIns="3600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Formatvorlage</a:t>
            </a:r>
            <a:r>
              <a:rPr lang="en-US" dirty="0" smtClean="0"/>
              <a:t> des </a:t>
            </a:r>
            <a:r>
              <a:rPr lang="en-US" dirty="0" err="1" smtClean="0"/>
              <a:t>Untertitelmasters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0" name="Rectangle 16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de-DE" sz="1000" b="1" smtClean="0">
                <a:solidFill>
                  <a:srgbClr val="879BAA"/>
                </a:solidFill>
              </a:rPr>
              <a:t>Confidential © Siemens AG 2016. All rights reserved</a:t>
            </a:r>
            <a:endParaRPr lang="en-US" altLang="de-DE" sz="1000" b="1" dirty="0">
              <a:solidFill>
                <a:srgbClr val="879B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1541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>
              <a:defRPr lang="de-DE" noProof="0" dirty="0"/>
            </a:lvl1pPr>
          </a:lstStyle>
          <a:p>
            <a:pPr lvl="0"/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709844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1449957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7"/>
            <a:ext cx="9144000" cy="5445125"/>
          </a:xfrm>
        </p:spPr>
        <p:txBody>
          <a:bodyPr tIns="21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82447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2" y="1412874"/>
            <a:ext cx="8208963" cy="475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716463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61430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4716713" y="1412873"/>
            <a:ext cx="4032000" cy="2303466"/>
          </a:xfrm>
        </p:spPr>
        <p:txBody>
          <a:bodyPr tIns="3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4716713" y="3860800"/>
            <a:ext cx="4032000" cy="2305050"/>
          </a:xfrm>
        </p:spPr>
        <p:txBody>
          <a:bodyPr tIns="3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198680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7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539750" y="1412876"/>
            <a:ext cx="403225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4716463" y="1412877"/>
            <a:ext cx="403225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539750" y="3933827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4716463" y="3933827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51069443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1" y="1385980"/>
            <a:ext cx="8207375" cy="24176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540000" y="1756800"/>
            <a:ext cx="8208000" cy="441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7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6"/>
            <a:ext cx="331200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7" y="1412877"/>
            <a:ext cx="33120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3"/>
            <a:ext cx="3312000" cy="23050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49" y="3860801"/>
            <a:ext cx="33120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5" y="1412875"/>
            <a:ext cx="1295998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cdtRectangle 2 Id3"/>
          <p:cNvSpPr/>
          <p:nvPr>
            <p:custDataLst>
              <p:tags r:id="rId1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6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5" y="1412875"/>
            <a:ext cx="4427537" cy="4752976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324002"/>
            <a:ext cx="1584000" cy="670123"/>
          </a:xfrm>
          <a:prstGeom prst="rect">
            <a:avLst/>
          </a:prstGeom>
        </p:spPr>
      </p:pic>
      <p:sp>
        <p:nvSpPr>
          <p:cNvPr id="10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3061668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,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9" descr="Image_Titel.jpg"/>
          <p:cNvPicPr>
            <a:picLocks noChangeAspect="1"/>
          </p:cNvPicPr>
          <p:nvPr userDrawn="1"/>
        </p:nvPicPr>
        <p:blipFill>
          <a:blip r:embed="rId3"/>
          <a:srcRect b="39468"/>
          <a:stretch>
            <a:fillRect/>
          </a:stretch>
        </p:blipFill>
        <p:spPr>
          <a:xfrm>
            <a:off x="0" y="0"/>
            <a:ext cx="9144000" cy="4151315"/>
          </a:xfrm>
          <a:prstGeom prst="rect">
            <a:avLst/>
          </a:prstGeom>
        </p:spPr>
      </p:pic>
      <p:sp>
        <p:nvSpPr>
          <p:cNvPr id="1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51315"/>
            <a:ext cx="8893175" cy="870014"/>
          </a:xfrm>
          <a:solidFill>
            <a:srgbClr val="879BAA"/>
          </a:solidFill>
        </p:spPr>
        <p:txBody>
          <a:bodyPr wrap="square" lIns="270000" tIns="144000" rIns="370800" bIns="108000" anchor="t">
            <a:spAutoFit/>
          </a:bodyPr>
          <a:lstStyle>
            <a:lvl1pPr marL="0" indent="0">
              <a:defRPr sz="4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Title</a:t>
            </a:r>
          </a:p>
        </p:txBody>
      </p:sp>
      <p:sp>
        <p:nvSpPr>
          <p:cNvPr id="1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8233"/>
            <a:ext cx="8893175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bIns="36000" anchor="b">
            <a:noAutofit/>
          </a:bodyPr>
          <a:lstStyle>
            <a:lvl1pPr marL="0" indent="0"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 smtClean="0"/>
              <a:t>Subtitle</a:t>
            </a:r>
          </a:p>
        </p:txBody>
      </p:sp>
      <p:pic>
        <p:nvPicPr>
          <p:cNvPr id="12" name="Grafik 10" descr="SIE_Logo_Layer_Petrol_RGB_A3_76mm.wm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13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r>
              <a:rPr lang="en-US" sz="1000" b="1" smtClean="0">
                <a:solidFill>
                  <a:schemeClr val="accent1"/>
                </a:solidFill>
                <a:cs typeface="+mn-cs"/>
              </a:rPr>
              <a:t>Restricted © Siemens AG 2016. All rights reserved</a:t>
            </a:r>
            <a:endParaRPr lang="en-US" sz="1000" b="1" dirty="0">
              <a:solidFill>
                <a:schemeClr val="accent1"/>
              </a:solidFill>
              <a:cs typeface="+mn-cs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preserve="1" userDrawn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161613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7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0"/>
            <a:ext cx="9137904" cy="6858000"/>
          </a:xfrm>
          <a:prstGeom prst="rect">
            <a:avLst/>
          </a:prstGeom>
        </p:spPr>
      </p:pic>
      <p:sp>
        <p:nvSpPr>
          <p:cNvPr id="16" name="cdtText Box 101 Id1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10" name="cdtText Box 133 Id10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Confidential © Siemens AG 2015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156326" y="6165850"/>
            <a:ext cx="29876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3960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siemens.com/wind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r>
              <a:rPr lang="en-US" sz="1000" b="1" smtClean="0">
                <a:solidFill>
                  <a:schemeClr val="accent1"/>
                </a:solidFill>
                <a:cs typeface="+mn-cs"/>
              </a:rPr>
              <a:t>Restricted © Siemens AG 2016. All rights reserved</a:t>
            </a:r>
            <a:endParaRPr lang="en-US" sz="1000" b="1" dirty="0">
              <a:solidFill>
                <a:schemeClr val="accent1"/>
              </a:solidFill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48552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itchFamily="34" charset="0"/>
              <a:buNone/>
              <a:defRPr baseline="0"/>
            </a:lvl1pPr>
          </a:lstStyle>
          <a:p>
            <a:r>
              <a:rPr lang="en-US" noProof="0" dirty="0" smtClean="0"/>
              <a:t>Action title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1" y="1412874"/>
            <a:ext cx="8208963" cy="215444"/>
          </a:xfrm>
        </p:spPr>
        <p:txBody>
          <a:bodyPr/>
          <a:lstStyle>
            <a:lvl1pPr marL="0" indent="0">
              <a:buClr>
                <a:srgbClr val="879BAA"/>
              </a:buCl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8949357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1" y="1385980"/>
            <a:ext cx="8207375" cy="24176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0"/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000" y="324001"/>
            <a:ext cx="2160714" cy="914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4052893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12" b="1"/>
          <a:stretch/>
        </p:blipFill>
        <p:spPr>
          <a:xfrm>
            <a:off x="0" y="1588"/>
            <a:ext cx="9144000" cy="6856412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17098831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712" b="1"/>
          <a:stretch/>
        </p:blipFill>
        <p:spPr>
          <a:xfrm>
            <a:off x="0" y="1588"/>
            <a:ext cx="9144000" cy="6856412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000" y="324001"/>
            <a:ext cx="2160714" cy="914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251192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943" r="392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4849571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58353004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000" y="324001"/>
            <a:ext cx="2160714" cy="914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8404744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b="1" dirty="0" smtClean="0">
              <a:solidFill>
                <a:srgbClr val="000000"/>
              </a:solidFill>
            </a:endParaRPr>
          </a:p>
        </p:txBody>
      </p:sp>
      <p:sp>
        <p:nvSpPr>
          <p:cNvPr id="4" name="cdtText Box 101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sp>
        <p:nvSpPr>
          <p:cNvPr id="8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54000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139492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dtRectangle 2 Id3"/>
          <p:cNvSpPr/>
          <p:nvPr>
            <p:custDataLst>
              <p:tags r:id="rId1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 smtClean="0">
              <a:solidFill>
                <a:srgbClr val="000000"/>
              </a:solidFill>
            </a:endParaRPr>
          </a:p>
        </p:txBody>
      </p:sp>
      <p:sp>
        <p:nvSpPr>
          <p:cNvPr id="5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5" y="1412877"/>
            <a:ext cx="4427537" cy="4752974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946000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61481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>
              <a:defRPr lang="de-DE" noProof="0" dirty="0"/>
            </a:lvl1pPr>
          </a:lstStyle>
          <a:p>
            <a:pPr lvl="0"/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72900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1_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5"/>
            <a:ext cx="9144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60449354"/>
      </p:ext>
    </p:extLst>
  </p:cSld>
  <p:clrMapOvr>
    <a:masterClrMapping/>
  </p:clrMapOvr>
  <p:hf sldNum="0"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7"/>
            <a:ext cx="9144000" cy="5445125"/>
          </a:xfrm>
        </p:spPr>
        <p:txBody>
          <a:bodyPr tIns="21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616426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2" y="1412874"/>
            <a:ext cx="8208963" cy="475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413654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7320630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4716463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793903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/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4716713" y="1412873"/>
            <a:ext cx="4032000" cy="2303466"/>
          </a:xfrm>
        </p:spPr>
        <p:txBody>
          <a:bodyPr tIns="3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4716713" y="3860800"/>
            <a:ext cx="4032000" cy="2305050"/>
          </a:xfrm>
        </p:spPr>
        <p:txBody>
          <a:bodyPr tIns="36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382760"/>
      </p:ext>
    </p:extLst>
  </p:cSld>
  <p:clrMapOvr>
    <a:masterClrMapping/>
  </p:clrMapOvr>
  <p:hf sldNum="0"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7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448437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531290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539750" y="1412876"/>
            <a:ext cx="403225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lang="de-DE" noProof="0" dirty="0" smtClean="0">
                <a:solidFill>
                  <a:schemeClr val="tx1"/>
                </a:solidFill>
              </a:defRPr>
            </a:lvl2pPr>
            <a:lvl3pPr>
              <a:defRPr lang="de-DE" noProof="0" dirty="0" smtClean="0">
                <a:solidFill>
                  <a:schemeClr val="tx1"/>
                </a:solidFill>
              </a:defRPr>
            </a:lvl3pPr>
            <a:lvl4pPr>
              <a:defRPr lang="de-DE" noProof="0" dirty="0" smtClean="0">
                <a:solidFill>
                  <a:schemeClr val="tx1"/>
                </a:solidFill>
              </a:defRPr>
            </a:lvl4pPr>
            <a:lvl5pPr>
              <a:defRPr lang="de-DE" noProof="0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4716463" y="1412877"/>
            <a:ext cx="403225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539750" y="3933827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4716463" y="3933827"/>
            <a:ext cx="4032250" cy="22320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>
                <a:solidFill>
                  <a:schemeClr val="tx1"/>
                </a:solidFill>
              </a:defRPr>
            </a:lvl1pPr>
            <a:lvl2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2pPr>
            <a:lvl3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3pPr>
            <a:lvl4pPr>
              <a:defRPr kumimoji="0" lang="de-DE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4pPr>
            <a:lvl5pPr>
              <a:def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216637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624960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14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Rectangle 2 Id3"/>
          <p:cNvSpPr/>
          <p:nvPr userDrawn="1">
            <p:custDataLst>
              <p:tags r:id="rId3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72000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fr-FR" dirty="0" smtClean="0"/>
              <a:t>active </a:t>
            </a:r>
            <a:r>
              <a:rPr lang="fr-FR" dirty="0" err="1" smtClean="0"/>
              <a:t>chapter</a:t>
            </a:r>
            <a:endParaRPr lang="fr-FR" dirty="0" smtClean="0"/>
          </a:p>
          <a:p>
            <a:pPr lvl="3"/>
            <a:r>
              <a:rPr lang="fr-FR" dirty="0" err="1" smtClean="0"/>
              <a:t>subchapter</a:t>
            </a:r>
            <a:endParaRPr lang="fr-FR" dirty="0" smtClean="0"/>
          </a:p>
          <a:p>
            <a:pPr lvl="4"/>
            <a:r>
              <a:rPr lang="fr-FR" dirty="0" smtClean="0"/>
              <a:t>active </a:t>
            </a:r>
            <a:r>
              <a:rPr lang="fr-FR" dirty="0" err="1" smtClean="0"/>
              <a:t>subchapter</a:t>
            </a:r>
            <a:endParaRPr lang="fr-FR" dirty="0" smtClean="0"/>
          </a:p>
        </p:txBody>
      </p:sp>
      <p:pic>
        <p:nvPicPr>
          <p:cNvPr id="6" name="Bildplatzhalter 12" descr="Image_IHV_Kontakt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 cstate="print"/>
          <a:srcRect l="24" r="24"/>
          <a:stretch>
            <a:fillRect/>
          </a:stretch>
        </p:blipFill>
        <p:spPr bwMode="ltGray">
          <a:xfrm>
            <a:off x="0" y="1412875"/>
            <a:ext cx="4572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8148064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457637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7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359406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6"/>
            <a:ext cx="3312000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47" y="1412877"/>
            <a:ext cx="33120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3"/>
            <a:ext cx="3312000" cy="23050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49" y="3860801"/>
            <a:ext cx="33120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5" y="1412875"/>
            <a:ext cx="1295998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87049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4" name="cdtRectangle 2 Id3"/>
          <p:cNvSpPr/>
          <p:nvPr>
            <p:custDataLst>
              <p:tags r:id="rId1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 smtClean="0">
              <a:solidFill>
                <a:srgbClr val="000000"/>
              </a:solidFill>
            </a:endParaRPr>
          </a:p>
        </p:txBody>
      </p:sp>
      <p:sp>
        <p:nvSpPr>
          <p:cNvPr id="6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5" y="1412875"/>
            <a:ext cx="4427537" cy="4752976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324002"/>
            <a:ext cx="1584000" cy="670123"/>
          </a:xfrm>
          <a:prstGeom prst="rect">
            <a:avLst/>
          </a:prstGeom>
        </p:spPr>
      </p:pic>
      <p:sp>
        <p:nvSpPr>
          <p:cNvPr id="10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104482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3"/>
          <p:cNvSpPr/>
          <p:nvPr>
            <p:custDataLst>
              <p:tags r:id="rId2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0" y="1412875"/>
            <a:ext cx="457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0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/>
            </a:lvl1pPr>
          </a:lstStyle>
          <a:p>
            <a:pPr lvl="0" algn="ctr"/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fr-FR" dirty="0" smtClean="0"/>
              <a:t>active </a:t>
            </a:r>
            <a:r>
              <a:rPr lang="fr-FR" dirty="0" err="1" smtClean="0"/>
              <a:t>chapter</a:t>
            </a:r>
            <a:endParaRPr lang="fr-FR" dirty="0" smtClean="0"/>
          </a:p>
          <a:p>
            <a:pPr lvl="3"/>
            <a:r>
              <a:rPr lang="fr-FR" dirty="0" err="1" smtClean="0"/>
              <a:t>subchapter</a:t>
            </a:r>
            <a:endParaRPr lang="fr-FR" dirty="0" smtClean="0"/>
          </a:p>
          <a:p>
            <a:pPr lvl="4"/>
            <a:r>
              <a:rPr lang="fr-FR" dirty="0" smtClean="0"/>
              <a:t>active </a:t>
            </a:r>
            <a:r>
              <a:rPr lang="fr-FR" dirty="0" err="1" smtClean="0"/>
              <a:t>subchapter</a:t>
            </a:r>
            <a:endParaRPr lang="fr-FR" dirty="0" smtClean="0"/>
          </a:p>
        </p:txBody>
      </p:sp>
      <p:sp>
        <p:nvSpPr>
          <p:cNvPr id="7" name="cdtRectangle 12 Id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0" y="2"/>
            <a:ext cx="91440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>
              <a:solidFill>
                <a:srgbClr val="ADBECB"/>
              </a:solidFill>
            </a:endParaRPr>
          </a:p>
        </p:txBody>
      </p:sp>
      <p:sp>
        <p:nvSpPr>
          <p:cNvPr id="9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0" y="2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" name="cdtText Box 101 Id3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/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3881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cdtRectangle 2 Id3"/>
          <p:cNvSpPr/>
          <p:nvPr>
            <p:custDataLst>
              <p:tags r:id="rId8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15" name="Bildplatzhalter 12" descr="Image_IHV_Kontakt.jp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4"/>
          <a:srcRect l="24" r="24"/>
          <a:stretch>
            <a:fillRect/>
          </a:stretch>
        </p:blipFill>
        <p:spPr bwMode="ltGray">
          <a:xfrm>
            <a:off x="0" y="1412875"/>
            <a:ext cx="4572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cdtRectangle 2 Id3"/>
          <p:cNvSpPr/>
          <p:nvPr userDrawn="1">
            <p:custDataLst>
              <p:tags r:id="rId10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pic>
        <p:nvPicPr>
          <p:cNvPr id="17" name="Bildplatzhalter 12" descr="Image_IHV_Kontakt.jp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4"/>
          <a:srcRect l="24" r="24"/>
          <a:stretch>
            <a:fillRect/>
          </a:stretch>
        </p:blipFill>
        <p:spPr bwMode="ltGray">
          <a:xfrm>
            <a:off x="0" y="1412875"/>
            <a:ext cx="4572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28915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39751" y="263525"/>
            <a:ext cx="8208963" cy="13414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99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>
  <p:cSld name="1_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3"/>
          <p:cNvSpPr/>
          <p:nvPr>
            <p:custDataLst>
              <p:tags r:id="rId2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0" y="1412875"/>
            <a:ext cx="4572000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fr-FR" dirty="0" smtClean="0"/>
              <a:t>active </a:t>
            </a:r>
            <a:r>
              <a:rPr lang="fr-FR" dirty="0" err="1" smtClean="0"/>
              <a:t>chapter</a:t>
            </a:r>
            <a:endParaRPr lang="fr-FR" dirty="0" smtClean="0"/>
          </a:p>
          <a:p>
            <a:pPr lvl="3"/>
            <a:r>
              <a:rPr lang="fr-FR" dirty="0" err="1" smtClean="0"/>
              <a:t>subchapter</a:t>
            </a:r>
            <a:endParaRPr lang="fr-FR" dirty="0" smtClean="0"/>
          </a:p>
          <a:p>
            <a:pPr lvl="4"/>
            <a:r>
              <a:rPr lang="fr-FR" dirty="0" smtClean="0"/>
              <a:t>active </a:t>
            </a:r>
            <a:r>
              <a:rPr lang="fr-FR" dirty="0" err="1" smtClean="0"/>
              <a:t>subchapter</a:t>
            </a:r>
            <a:endParaRPr lang="fr-FR" dirty="0" smtClean="0"/>
          </a:p>
        </p:txBody>
      </p:sp>
      <p:pic>
        <p:nvPicPr>
          <p:cNvPr id="6" name="Bildplatzhalter 12" descr="Image_IHV_Kontakt.jp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8"/>
          <a:srcRect l="24" r="24"/>
          <a:stretch>
            <a:fillRect/>
          </a:stretch>
        </p:blipFill>
        <p:spPr bwMode="ltGray">
          <a:xfrm>
            <a:off x="0" y="1412875"/>
            <a:ext cx="4572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694021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399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39752" y="1412875"/>
            <a:ext cx="8208963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1310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3853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5" name="cdtText Box 101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3853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3853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72572357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8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6540691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182597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>
  <p:cSld name="1_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4925169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013105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544966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8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9289372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8"/>
            <a:ext cx="3309936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8"/>
            <a:ext cx="33147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0"/>
            <a:ext cx="3309936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50" y="3860800"/>
            <a:ext cx="3314701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378023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1_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3"/>
          <p:cNvSpPr/>
          <p:nvPr userDrawn="1">
            <p:custDataLst>
              <p:tags r:id="rId2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smtClean="0">
              <a:solidFill>
                <a:srgbClr val="000000"/>
              </a:solidFill>
            </a:endParaRPr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4"/>
            </p:custDataLst>
          </p:nvPr>
        </p:nvSpPr>
        <p:spPr>
          <a:xfrm>
            <a:off x="0" y="1412875"/>
            <a:ext cx="4572000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fr-FR" dirty="0" smtClean="0"/>
              <a:t>active </a:t>
            </a:r>
            <a:r>
              <a:rPr lang="fr-FR" dirty="0" err="1" smtClean="0"/>
              <a:t>chapter</a:t>
            </a:r>
            <a:endParaRPr lang="fr-FR" dirty="0" smtClean="0"/>
          </a:p>
          <a:p>
            <a:pPr lvl="3"/>
            <a:r>
              <a:rPr lang="fr-FR" dirty="0" err="1" smtClean="0"/>
              <a:t>subchapter</a:t>
            </a:r>
            <a:endParaRPr lang="fr-FR" dirty="0" smtClean="0"/>
          </a:p>
          <a:p>
            <a:pPr lvl="4"/>
            <a:r>
              <a:rPr lang="fr-FR" dirty="0" smtClean="0"/>
              <a:t>active </a:t>
            </a:r>
            <a:r>
              <a:rPr lang="fr-FR" dirty="0" err="1" smtClean="0"/>
              <a:t>subchapter</a:t>
            </a:r>
            <a:endParaRPr lang="fr-FR" dirty="0" smtClean="0"/>
          </a:p>
        </p:txBody>
      </p:sp>
      <p:pic>
        <p:nvPicPr>
          <p:cNvPr id="6" name="Bildplatzhalter 12" descr="Image_IHV_Kontakt.jp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/>
          <a:srcRect l="24" r="24"/>
          <a:stretch>
            <a:fillRect/>
          </a:stretch>
        </p:blipFill>
        <p:spPr bwMode="ltGray">
          <a:xfrm>
            <a:off x="0" y="1412875"/>
            <a:ext cx="4572000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18188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1_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4503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39752" y="1412875"/>
            <a:ext cx="8208963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23638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Box 101 Id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000" y="324000"/>
            <a:ext cx="2160000" cy="913804"/>
          </a:xfrm>
          <a:prstGeom prst="rect">
            <a:avLst/>
          </a:prstGeom>
        </p:spPr>
      </p:pic>
      <p:sp>
        <p:nvSpPr>
          <p:cNvPr id="8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540000" y="4352402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 smtClean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40000" y="599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599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9" name="Gruppieren 28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0" name="cdtText Box 101 Id31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3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" name="cdtText Box 101 Id3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48" name="Gerade Verbindung 47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978702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1_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8"/>
            <a:ext cx="8208963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8208963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535049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1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25920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276000" y="1412875"/>
            <a:ext cx="273586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156325" y="1412875"/>
            <a:ext cx="2592388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881094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1_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4" name="cdtTextplatzhalter 13 Id4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372717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1_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5"/>
            <a:ext cx="6769100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9450002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1_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5"/>
            <a:ext cx="3309936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5"/>
            <a:ext cx="3314701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2755535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1_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1" y="1412878"/>
            <a:ext cx="67691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39751" y="3860800"/>
            <a:ext cx="6769100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8740294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1_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39750" y="1412878"/>
            <a:ext cx="3309936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994150" y="1412878"/>
            <a:ext cx="3314700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539750" y="3860800"/>
            <a:ext cx="3309936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3994150" y="3860800"/>
            <a:ext cx="3314701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dtTextplatzhalter 13 Id9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452715" y="1412875"/>
            <a:ext cx="1295998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10719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dtRectangle 2 Id3"/>
          <p:cNvSpPr/>
          <p:nvPr>
            <p:custDataLst>
              <p:tags r:id="rId1"/>
            </p:custDataLst>
          </p:nvPr>
        </p:nvSpPr>
        <p:spPr bwMode="auto">
          <a:xfrm>
            <a:off x="4716465" y="1412875"/>
            <a:ext cx="4427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sp>
        <p:nvSpPr>
          <p:cNvPr id="5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716465" y="1412877"/>
            <a:ext cx="4427537" cy="4752974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72000" cy="4752975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553526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2"/>
            <a:ext cx="9144000" cy="1268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539750" y="1412875"/>
            <a:ext cx="4032250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5" name="cdtText Placehold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716465" y="1412875"/>
            <a:ext cx="4427537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>
                <a:solidFill>
                  <a:srgbClr val="000000"/>
                </a:solidFill>
              </a:defRPr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>
                <a:solidFill>
                  <a:srgbClr val="000000"/>
                </a:solidFill>
              </a:defRPr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0" baseline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3773488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tags" Target="../tags/tag31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slideLayout" Target="../slideLayouts/slideLayout26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tags" Target="../tags/tag70.xml"/><Relationship Id="rId55" Type="http://schemas.openxmlformats.org/officeDocument/2006/relationships/image" Target="../media/image6.wmf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54" Type="http://schemas.openxmlformats.org/officeDocument/2006/relationships/tags" Target="../tags/tag7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heme" Target="../theme/theme2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tags" Target="../tags/tag73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tags" Target="../tags/tag7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8" Type="http://schemas.openxmlformats.org/officeDocument/2006/relationships/slideLayout" Target="../slideLayouts/slideLayout13.xml"/><Relationship Id="rId51" Type="http://schemas.openxmlformats.org/officeDocument/2006/relationships/tags" Target="../tags/tag71.xml"/><Relationship Id="rId3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70.xml"/><Relationship Id="rId47" Type="http://schemas.openxmlformats.org/officeDocument/2006/relationships/slideLayout" Target="../slideLayouts/slideLayout75.xml"/><Relationship Id="rId50" Type="http://schemas.openxmlformats.org/officeDocument/2006/relationships/vmlDrawing" Target="../drawings/vmlDrawing4.vml"/><Relationship Id="rId55" Type="http://schemas.openxmlformats.org/officeDocument/2006/relationships/tags" Target="../tags/tag141.xml"/><Relationship Id="rId63" Type="http://schemas.openxmlformats.org/officeDocument/2006/relationships/tags" Target="../tags/tag149.xml"/><Relationship Id="rId68" Type="http://schemas.openxmlformats.org/officeDocument/2006/relationships/tags" Target="../tags/tag154.xml"/><Relationship Id="rId76" Type="http://schemas.openxmlformats.org/officeDocument/2006/relationships/tags" Target="../tags/tag162.xml"/><Relationship Id="rId84" Type="http://schemas.openxmlformats.org/officeDocument/2006/relationships/image" Target="../media/image6.wmf"/><Relationship Id="rId7" Type="http://schemas.openxmlformats.org/officeDocument/2006/relationships/slideLayout" Target="../slideLayouts/slideLayout35.xml"/><Relationship Id="rId71" Type="http://schemas.openxmlformats.org/officeDocument/2006/relationships/tags" Target="../tags/tag157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8.xml"/><Relationship Id="rId45" Type="http://schemas.openxmlformats.org/officeDocument/2006/relationships/slideLayout" Target="../slideLayouts/slideLayout73.xml"/><Relationship Id="rId53" Type="http://schemas.openxmlformats.org/officeDocument/2006/relationships/tags" Target="../tags/tag139.xml"/><Relationship Id="rId58" Type="http://schemas.openxmlformats.org/officeDocument/2006/relationships/tags" Target="../tags/tag144.xml"/><Relationship Id="rId66" Type="http://schemas.openxmlformats.org/officeDocument/2006/relationships/tags" Target="../tags/tag152.xml"/><Relationship Id="rId74" Type="http://schemas.openxmlformats.org/officeDocument/2006/relationships/tags" Target="../tags/tag160.xml"/><Relationship Id="rId79" Type="http://schemas.openxmlformats.org/officeDocument/2006/relationships/tags" Target="../tags/tag165.xml"/><Relationship Id="rId5" Type="http://schemas.openxmlformats.org/officeDocument/2006/relationships/slideLayout" Target="../slideLayouts/slideLayout33.xml"/><Relationship Id="rId61" Type="http://schemas.openxmlformats.org/officeDocument/2006/relationships/tags" Target="../tags/tag147.xml"/><Relationship Id="rId82" Type="http://schemas.openxmlformats.org/officeDocument/2006/relationships/oleObject" Target="../embeddings/oleObject4.bin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52" Type="http://schemas.openxmlformats.org/officeDocument/2006/relationships/tags" Target="../tags/tag138.xml"/><Relationship Id="rId60" Type="http://schemas.openxmlformats.org/officeDocument/2006/relationships/tags" Target="../tags/tag146.xml"/><Relationship Id="rId65" Type="http://schemas.openxmlformats.org/officeDocument/2006/relationships/tags" Target="../tags/tag151.xml"/><Relationship Id="rId73" Type="http://schemas.openxmlformats.org/officeDocument/2006/relationships/tags" Target="../tags/tag159.xml"/><Relationship Id="rId78" Type="http://schemas.openxmlformats.org/officeDocument/2006/relationships/tags" Target="../tags/tag164.xml"/><Relationship Id="rId81" Type="http://schemas.openxmlformats.org/officeDocument/2006/relationships/tags" Target="../tags/tag16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43" Type="http://schemas.openxmlformats.org/officeDocument/2006/relationships/slideLayout" Target="../slideLayouts/slideLayout71.xml"/><Relationship Id="rId48" Type="http://schemas.openxmlformats.org/officeDocument/2006/relationships/slideLayout" Target="../slideLayouts/slideLayout76.xml"/><Relationship Id="rId56" Type="http://schemas.openxmlformats.org/officeDocument/2006/relationships/tags" Target="../tags/tag142.xml"/><Relationship Id="rId64" Type="http://schemas.openxmlformats.org/officeDocument/2006/relationships/tags" Target="../tags/tag150.xml"/><Relationship Id="rId69" Type="http://schemas.openxmlformats.org/officeDocument/2006/relationships/tags" Target="../tags/tag155.xml"/><Relationship Id="rId77" Type="http://schemas.openxmlformats.org/officeDocument/2006/relationships/tags" Target="../tags/tag163.xml"/><Relationship Id="rId8" Type="http://schemas.openxmlformats.org/officeDocument/2006/relationships/slideLayout" Target="../slideLayouts/slideLayout36.xml"/><Relationship Id="rId51" Type="http://schemas.openxmlformats.org/officeDocument/2006/relationships/tags" Target="../tags/tag137.xml"/><Relationship Id="rId72" Type="http://schemas.openxmlformats.org/officeDocument/2006/relationships/tags" Target="../tags/tag158.xml"/><Relationship Id="rId80" Type="http://schemas.openxmlformats.org/officeDocument/2006/relationships/tags" Target="../tags/tag166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slideLayout" Target="../slideLayouts/slideLayout74.xml"/><Relationship Id="rId59" Type="http://schemas.openxmlformats.org/officeDocument/2006/relationships/tags" Target="../tags/tag145.xml"/><Relationship Id="rId67" Type="http://schemas.openxmlformats.org/officeDocument/2006/relationships/tags" Target="../tags/tag153.xml"/><Relationship Id="rId2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9.xml"/><Relationship Id="rId54" Type="http://schemas.openxmlformats.org/officeDocument/2006/relationships/tags" Target="../tags/tag140.xml"/><Relationship Id="rId62" Type="http://schemas.openxmlformats.org/officeDocument/2006/relationships/tags" Target="../tags/tag148.xml"/><Relationship Id="rId70" Type="http://schemas.openxmlformats.org/officeDocument/2006/relationships/tags" Target="../tags/tag156.xml"/><Relationship Id="rId75" Type="http://schemas.openxmlformats.org/officeDocument/2006/relationships/tags" Target="../tags/tag161.xml"/><Relationship Id="rId83" Type="http://schemas.openxmlformats.org/officeDocument/2006/relationships/image" Target="../media/image4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49" Type="http://schemas.openxmlformats.org/officeDocument/2006/relationships/theme" Target="../theme/theme3.xml"/><Relationship Id="rId57" Type="http://schemas.openxmlformats.org/officeDocument/2006/relationships/tags" Target="../tags/tag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kt 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96" name="think-cell Folie" r:id="rId38" imgW="360" imgH="360" progId="TCLayout.ActiveDocument.1">
                  <p:embed/>
                </p:oleObj>
              </mc:Choice>
              <mc:Fallback>
                <p:oleObj name="think-cell Folie" r:id="rId3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dtRectangle 12 Id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0" y="2"/>
            <a:ext cx="9144000" cy="12684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1800" smtClean="0">
              <a:solidFill>
                <a:srgbClr val="ADBECB"/>
              </a:solidFill>
              <a:cs typeface="Arial" pitchFamily="34" charset="0"/>
            </a:endParaRPr>
          </a:p>
        </p:txBody>
      </p:sp>
      <p:sp>
        <p:nvSpPr>
          <p:cNvPr id="2053" name="cdtRectangle 116 Id3079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539751" y="1757082"/>
            <a:ext cx="8208963" cy="4408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Textmasterformat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bearbeiten</a:t>
            </a:r>
            <a:endParaRPr lang="en-US" altLang="en-US" dirty="0" smtClean="0"/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sp>
        <p:nvSpPr>
          <p:cNvPr id="4102" name="cdtTextBox 11 Id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" y="6599238"/>
            <a:ext cx="13938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0" tIns="0" rIns="0" bIns="115200"/>
          <a:lstStyle>
            <a:lvl1pPr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en-US" sz="1000" smtClean="0">
                <a:solidFill>
                  <a:srgbClr val="000000"/>
                </a:solidFill>
                <a:ea typeface="ＭＳ Ｐゴシック"/>
              </a:rPr>
              <a:t>Page </a:t>
            </a:r>
            <a:fld id="{FED64D2B-DE89-4A56-98C2-0E61F701F593}" type="slidenum">
              <a:rPr lang="en-US" sz="1000" smtClean="0">
                <a:solidFill>
                  <a:srgbClr val="000000"/>
                </a:solidFill>
                <a:ea typeface="ＭＳ Ｐゴシック"/>
              </a:rPr>
              <a:pPr eaLnBrk="1" hangingPunct="1">
                <a:lnSpc>
                  <a:spcPct val="110000"/>
                </a:lnSpc>
                <a:spcBef>
                  <a:spcPct val="0"/>
                </a:spcBef>
                <a:defRPr/>
              </a:pPr>
              <a:t>‹#›</a:t>
            </a:fld>
            <a:endParaRPr lang="en-US" sz="1000" smtClean="0">
              <a:solidFill>
                <a:srgbClr val="000000"/>
              </a:solidFill>
              <a:ea typeface="ＭＳ Ｐゴシック"/>
            </a:endParaRPr>
          </a:p>
        </p:txBody>
      </p:sp>
      <p:pic>
        <p:nvPicPr>
          <p:cNvPr id="2055" name="cdtPicture 10 Id11" descr="SIE_Logo_Layer_Petrol_RGB_A3_76mm.wmf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1" y="0"/>
            <a:ext cx="1439863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6" name="cdtRectangle 115 Id3078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0" y="2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elmasterformat durch Klicken bearbeiten</a:t>
            </a:r>
          </a:p>
        </p:txBody>
      </p:sp>
      <p:sp>
        <p:nvSpPr>
          <p:cNvPr id="4106" name="cdtText Box 101 Id3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7200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/>
          <a:lstStyle>
            <a:lvl1pPr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sz="1100" b="1" smtClean="0">
              <a:solidFill>
                <a:srgbClr val="990000"/>
              </a:solidFill>
              <a:ea typeface="ＭＳ Ｐゴシック"/>
            </a:endParaRPr>
          </a:p>
        </p:txBody>
      </p:sp>
      <p:cxnSp>
        <p:nvCxnSpPr>
          <p:cNvPr id="2" name="cdtMasterTags_CL1 Id2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cdtMasterTags_CL7 Id10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cdtMasterTags_CL8 Id15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cdtMasterTags_CL9 Id16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cdtMasterTags_CL10 Id17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cdtMasterTags_CL11 Id18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cdtMasterTags_CL12 Id19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cdtMasterTags_CL13 Id20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14 Id21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15 Id22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16 Id23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7 Id24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8 Id25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9 Id26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20 Id27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FooterSimple"/>
          <p:cNvSpPr/>
          <p:nvPr/>
        </p:nvSpPr>
        <p:spPr>
          <a:xfrm>
            <a:off x="1393825" y="6636774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808080"/>
                </a:solidFill>
              </a:rPr>
              <a:t>150617 - Initiative coordination meeting_vPresented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34" name="Rectangle 168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de-DE" sz="1000" b="1" smtClean="0">
                <a:solidFill>
                  <a:srgbClr val="879BAA"/>
                </a:solidFill>
              </a:rPr>
              <a:t>Confidential © Siemens AG 2016. All rights reserved</a:t>
            </a:r>
            <a:endParaRPr lang="en-US" altLang="de-DE" sz="1000" b="1" dirty="0">
              <a:solidFill>
                <a:srgbClr val="879BAA"/>
              </a:solidFill>
            </a:endParaRPr>
          </a:p>
        </p:txBody>
      </p:sp>
      <p:sp>
        <p:nvSpPr>
          <p:cNvPr id="32" name="DraftShape"/>
          <p:cNvSpPr>
            <a:spLocks noChangeArrowheads="1"/>
          </p:cNvSpPr>
          <p:nvPr userDrawn="1">
            <p:custDataLst>
              <p:tags r:id="rId37"/>
            </p:custDataLst>
          </p:nvPr>
        </p:nvSpPr>
        <p:spPr bwMode="gray">
          <a:xfrm>
            <a:off x="7321920" y="849894"/>
            <a:ext cx="1413850" cy="36933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C41300"/>
                </a:solidFill>
                <a:latin typeface="Arial"/>
                <a:ea typeface="ＭＳ Ｐゴシック"/>
              </a:rPr>
              <a:t>Draft—</a:t>
            </a:r>
            <a:br>
              <a:rPr lang="en-US" sz="1200" b="1" dirty="0" smtClean="0">
                <a:solidFill>
                  <a:srgbClr val="C41300"/>
                </a:solidFill>
                <a:latin typeface="Arial"/>
                <a:ea typeface="ＭＳ Ｐゴシック"/>
              </a:rPr>
            </a:br>
            <a:r>
              <a:rPr lang="en-US" sz="1200" b="1" dirty="0" smtClean="0">
                <a:solidFill>
                  <a:srgbClr val="C41300"/>
                </a:solidFill>
                <a:latin typeface="Arial"/>
                <a:ea typeface="ＭＳ Ｐゴシック"/>
              </a:rPr>
              <a:t>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135269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defRPr sz="1600" b="1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1pPr>
      <a:lvl2pPr marL="179388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600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2pPr>
      <a:lvl3pPr marL="358775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600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3pPr>
      <a:lvl4pPr marL="538163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600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4pPr>
      <a:lvl5pPr marL="717550" indent="-177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defRPr sz="1600">
          <a:solidFill>
            <a:srgbClr val="000000"/>
          </a:solidFill>
          <a:latin typeface="Arial" pitchFamily="34" charset="0"/>
          <a:ea typeface="ＭＳ Ｐゴシック" pitchFamily="34" charset="-128"/>
          <a:cs typeface="MS PGothic" pitchFamily="34" charset="-128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2 Id7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0" y="2"/>
            <a:ext cx="91440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6"/>
            </p:custDataLst>
          </p:nvPr>
        </p:nvSpPr>
        <p:spPr bwMode="auto">
          <a:xfrm>
            <a:off x="539752" y="1412874"/>
            <a:ext cx="820896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2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cxnSp>
        <p:nvCxnSpPr>
          <p:cNvPr id="29" name="cdtMasterTags_CL1 Id29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2 Id30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3 Id3072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4 Id3073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5 Id3074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6 Id3075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7 Id3076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8 Id3077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9 Id3080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10 Id3081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11 Id3082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2 Id3083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3 Id3084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4 Id3085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5 Id3086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6 Id3087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7 Id3088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8 Id3089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9 Id3090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20 Id3091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55"/>
          <a:srcRect/>
          <a:stretch>
            <a:fillRect/>
          </a:stretch>
        </p:blipFill>
        <p:spPr bwMode="auto">
          <a:xfrm>
            <a:off x="7163881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1" name="cdtText Box 101 Id31"/>
            <p:cNvSpPr txBox="1">
              <a:spLocks noChangeArrowheads="1"/>
            </p:cNvSpPr>
            <p:nvPr userDrawn="1">
              <p:custDataLst>
                <p:tags r:id="rId53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cdtText Box 101 Id31"/>
            <p:cNvSpPr txBox="1">
              <a:spLocks noChangeArrowheads="1"/>
            </p:cNvSpPr>
            <p:nvPr userDrawn="1">
              <p:custDataLst>
                <p:tags r:id="rId54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>
                <a:buClrTx/>
                <a:buFontTx/>
                <a:buNone/>
              </a:pPr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57" name="Gerade Verbindung 56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5" name="cdtTextBox 12 Id13"/>
          <p:cNvSpPr txBox="1"/>
          <p:nvPr>
            <p:custDataLst>
              <p:tags r:id="rId49"/>
            </p:custDataLst>
          </p:nvPr>
        </p:nvSpPr>
        <p:spPr>
          <a:xfrm>
            <a:off x="1" y="6598800"/>
            <a:ext cx="2549519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1" name="cdtText Box 133 Id9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092" y="6165850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de-DE" sz="1000" b="1" dirty="0" smtClean="0">
                <a:solidFill>
                  <a:srgbClr val="879BAA"/>
                </a:solidFill>
              </a:rPr>
              <a:t>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16			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71" name="cdtTextBox 11 Id12"/>
          <p:cNvSpPr txBox="1"/>
          <p:nvPr>
            <p:custDataLst>
              <p:tags r:id="rId51"/>
            </p:custDataLst>
          </p:nvPr>
        </p:nvSpPr>
        <p:spPr>
          <a:xfrm>
            <a:off x="-1" y="6598800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2" name="cdtTextBox 13 Id14"/>
          <p:cNvSpPr txBox="1"/>
          <p:nvPr>
            <p:custDataLst>
              <p:tags r:id="rId52"/>
            </p:custDataLst>
          </p:nvPr>
        </p:nvSpPr>
        <p:spPr>
          <a:xfrm>
            <a:off x="2693979" y="6598800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163455" y="6376348"/>
            <a:ext cx="2692748" cy="259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b="1" kern="1200" dirty="0" smtClean="0">
                <a:solidFill>
                  <a:srgbClr val="879BAA"/>
                </a:solidFill>
                <a:latin typeface="Arial" pitchFamily="34" charset="0"/>
                <a:ea typeface="ＭＳ Ｐゴシック" charset="-128"/>
                <a:cs typeface="+mn-cs"/>
              </a:rPr>
              <a:t>Hasse A. Andreasen, WP OF QM&amp;EHS EH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696" r:id="rId21"/>
    <p:sldLayoutId id="2147483701" r:id="rId22"/>
    <p:sldLayoutId id="2147483693" r:id="rId2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42335546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9" name="think-cell Slide" r:id="rId82" imgW="270" imgH="270" progId="TCLayout.ActiveDocument.1">
                  <p:embed/>
                </p:oleObj>
              </mc:Choice>
              <mc:Fallback>
                <p:oleObj name="think-cell Slide" r:id="rId8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dtRectangle 12 Id7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0" y="2"/>
            <a:ext cx="914400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>
              <a:solidFill>
                <a:srgbClr val="ADBECB"/>
              </a:solidFill>
            </a:endParaRP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53"/>
            </p:custDataLst>
          </p:nvPr>
        </p:nvSpPr>
        <p:spPr bwMode="auto">
          <a:xfrm>
            <a:off x="539752" y="1412874"/>
            <a:ext cx="820896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54"/>
            </p:custDataLst>
          </p:nvPr>
        </p:nvSpPr>
        <p:spPr bwMode="auto">
          <a:xfrm>
            <a:off x="0" y="2"/>
            <a:ext cx="91440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cxnSp>
        <p:nvCxnSpPr>
          <p:cNvPr id="29" name="cdtMasterTags_CL1 Id29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2 Id30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3 Id3072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4 Id3073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5 Id3074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6 Id3075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7 Id3076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8 Id3077"/>
          <p:cNvCxnSpPr/>
          <p:nvPr>
            <p:custDataLst>
              <p:tags r:id="rId6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9 Id3080"/>
          <p:cNvCxnSpPr/>
          <p:nvPr>
            <p:custDataLst>
              <p:tags r:id="rId6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10 Id3081"/>
          <p:cNvCxnSpPr/>
          <p:nvPr>
            <p:custDataLst>
              <p:tags r:id="rId6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11 Id3082"/>
          <p:cNvCxnSpPr/>
          <p:nvPr>
            <p:custDataLst>
              <p:tags r:id="rId6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2 Id3083"/>
          <p:cNvCxnSpPr/>
          <p:nvPr>
            <p:custDataLst>
              <p:tags r:id="rId6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3 Id3084"/>
          <p:cNvCxnSpPr/>
          <p:nvPr>
            <p:custDataLst>
              <p:tags r:id="rId6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4 Id3085"/>
          <p:cNvCxnSpPr/>
          <p:nvPr>
            <p:custDataLst>
              <p:tags r:id="rId6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5 Id3086"/>
          <p:cNvCxnSpPr/>
          <p:nvPr>
            <p:custDataLst>
              <p:tags r:id="rId6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6 Id3087"/>
          <p:cNvCxnSpPr/>
          <p:nvPr>
            <p:custDataLst>
              <p:tags r:id="rId7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7 Id3088"/>
          <p:cNvCxnSpPr/>
          <p:nvPr>
            <p:custDataLst>
              <p:tags r:id="rId7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8 Id3089"/>
          <p:cNvCxnSpPr/>
          <p:nvPr>
            <p:custDataLst>
              <p:tags r:id="rId7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9 Id3090"/>
          <p:cNvCxnSpPr/>
          <p:nvPr>
            <p:custDataLst>
              <p:tags r:id="rId7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20 Id3091"/>
          <p:cNvCxnSpPr/>
          <p:nvPr>
            <p:custDataLst>
              <p:tags r:id="rId7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"/>
          <p:cNvCxnSpPr/>
          <p:nvPr>
            <p:custDataLst>
              <p:tags r:id="rId7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8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3881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-216000" y="-216000"/>
            <a:ext cx="9576000" cy="7290000"/>
            <a:chOff x="-216000" y="-216000"/>
            <a:chExt cx="9576000" cy="7290000"/>
          </a:xfrm>
        </p:grpSpPr>
        <p:sp>
          <p:nvSpPr>
            <p:cNvPr id="31" name="cdtText Box 101 Id31"/>
            <p:cNvSpPr txBox="1">
              <a:spLocks noChangeArrowheads="1"/>
            </p:cNvSpPr>
            <p:nvPr userDrawn="1">
              <p:custDataLst>
                <p:tags r:id="rId80"/>
              </p:custDataLst>
            </p:nvPr>
          </p:nvSpPr>
          <p:spPr bwMode="auto">
            <a:xfrm>
              <a:off x="4572000" y="-216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37" name="Gerade Verbindung 36"/>
            <p:cNvCxnSpPr/>
            <p:nvPr userDrawn="1"/>
          </p:nvCxnSpPr>
          <p:spPr bwMode="auto">
            <a:xfrm rot="5400000">
              <a:off x="9270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2398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53921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4568474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47164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74871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9270000" y="8910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9270000" y="132287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9270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9270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9270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132287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36239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-126000" y="376651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-126000" y="60758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cdtText Box 101 Id31"/>
            <p:cNvSpPr txBox="1">
              <a:spLocks noChangeArrowheads="1"/>
            </p:cNvSpPr>
            <p:nvPr userDrawn="1">
              <p:custDataLst>
                <p:tags r:id="rId81"/>
              </p:custDataLst>
            </p:nvPr>
          </p:nvSpPr>
          <p:spPr bwMode="auto">
            <a:xfrm>
              <a:off x="4572000" y="6894000"/>
              <a:ext cx="1588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99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36000" rIns="0" bIns="0">
              <a:noAutofit/>
            </a:bodyPr>
            <a:lstStyle/>
            <a:p>
              <a:pPr algn="ctr"/>
              <a:endParaRPr lang="de-DE" sz="1100" b="1" dirty="0">
                <a:solidFill>
                  <a:srgbClr val="990000"/>
                </a:solidFill>
              </a:endParaRPr>
            </a:p>
          </p:txBody>
        </p:sp>
        <p:cxnSp>
          <p:nvCxnSpPr>
            <p:cNvPr id="57" name="Gerade Verbindung 56"/>
            <p:cNvCxnSpPr/>
            <p:nvPr userDrawn="1"/>
          </p:nvCxnSpPr>
          <p:spPr bwMode="auto">
            <a:xfrm>
              <a:off x="53921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568474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47164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74871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5" name="cdtTextBox 12 Id13"/>
          <p:cNvSpPr txBox="1"/>
          <p:nvPr>
            <p:custDataLst>
              <p:tags r:id="rId76"/>
            </p:custDataLst>
          </p:nvPr>
        </p:nvSpPr>
        <p:spPr>
          <a:xfrm>
            <a:off x="1" y="6598800"/>
            <a:ext cx="2981325" cy="259200"/>
          </a:xfrm>
          <a:prstGeom prst="rect">
            <a:avLst/>
          </a:prstGeom>
          <a:noFill/>
        </p:spPr>
        <p:txBody>
          <a:bodyPr wrap="square" lIns="1476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 err="1" smtClean="0">
                <a:solidFill>
                  <a:srgbClr val="000000"/>
                </a:solidFill>
              </a:rPr>
              <a:t>Published</a:t>
            </a:r>
            <a:r>
              <a:rPr lang="de-DE" sz="1000" dirty="0" smtClean="0">
                <a:solidFill>
                  <a:srgbClr val="000000"/>
                </a:solidFill>
              </a:rPr>
              <a:t> in May</a:t>
            </a:r>
          </a:p>
        </p:txBody>
      </p:sp>
      <p:sp>
        <p:nvSpPr>
          <p:cNvPr id="61" name="cdtText Box 133 Id9"/>
          <p:cNvSpPr txBox="1"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0" y="6165850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40000" tIns="144000" rIns="21240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16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71" name="cdtTextBox 11 Id12"/>
          <p:cNvSpPr txBox="1"/>
          <p:nvPr>
            <p:custDataLst>
              <p:tags r:id="rId78"/>
            </p:custDataLst>
          </p:nvPr>
        </p:nvSpPr>
        <p:spPr>
          <a:xfrm>
            <a:off x="-1" y="6598800"/>
            <a:ext cx="1393200" cy="259200"/>
          </a:xfrm>
          <a:prstGeom prst="rect">
            <a:avLst/>
          </a:prstGeom>
          <a:noFill/>
        </p:spPr>
        <p:txBody>
          <a:bodyPr wrap="square" lIns="5400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dirty="0" smtClean="0">
              <a:solidFill>
                <a:srgbClr val="000000"/>
              </a:solidFill>
            </a:endParaRPr>
          </a:p>
        </p:txBody>
      </p:sp>
      <p:sp>
        <p:nvSpPr>
          <p:cNvPr id="72" name="cdtTextBox 13 Id14"/>
          <p:cNvSpPr txBox="1"/>
          <p:nvPr>
            <p:custDataLst>
              <p:tags r:id="rId79"/>
            </p:custDataLst>
          </p:nvPr>
        </p:nvSpPr>
        <p:spPr>
          <a:xfrm>
            <a:off x="2693979" y="6598800"/>
            <a:ext cx="6450020" cy="259200"/>
          </a:xfrm>
          <a:prstGeom prst="rect">
            <a:avLst/>
          </a:prstGeom>
          <a:noFill/>
        </p:spPr>
        <p:txBody>
          <a:bodyPr wrap="square" lIns="0" tIns="0" rIns="3960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 WP OF QM&amp;EHS EHS</a:t>
            </a:r>
          </a:p>
        </p:txBody>
      </p:sp>
    </p:spTree>
    <p:extLst>
      <p:ext uri="{BB962C8B-B14F-4D97-AF65-F5344CB8AC3E}">
        <p14:creationId xmlns:p14="http://schemas.microsoft.com/office/powerpoint/2010/main" val="1396878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0" r:id="rId30"/>
    <p:sldLayoutId id="2147483801" r:id="rId31"/>
    <p:sldLayoutId id="2147483802" r:id="rId32"/>
    <p:sldLayoutId id="2147483803" r:id="rId33"/>
    <p:sldLayoutId id="2147483804" r:id="rId34"/>
    <p:sldLayoutId id="2147483805" r:id="rId35"/>
    <p:sldLayoutId id="2147483806" r:id="rId36"/>
    <p:sldLayoutId id="2147483807" r:id="rId37"/>
    <p:sldLayoutId id="2147483808" r:id="rId38"/>
    <p:sldLayoutId id="2147483809" r:id="rId39"/>
    <p:sldLayoutId id="2147483810" r:id="rId40"/>
    <p:sldLayoutId id="2147483811" r:id="rId41"/>
    <p:sldLayoutId id="2147483812" r:id="rId42"/>
    <p:sldLayoutId id="2147483813" r:id="rId43"/>
    <p:sldLayoutId id="2147483814" r:id="rId44"/>
    <p:sldLayoutId id="2147483815" r:id="rId45"/>
    <p:sldLayoutId id="2147483816" r:id="rId46"/>
    <p:sldLayoutId id="2147483817" r:id="rId47"/>
    <p:sldLayoutId id="2147483818" r:id="rId4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8529" y="4506289"/>
            <a:ext cx="7404468" cy="1386206"/>
          </a:xfrm>
        </p:spPr>
        <p:txBody>
          <a:bodyPr/>
          <a:lstStyle/>
          <a:p>
            <a:r>
              <a:rPr lang="en-GB" sz="3500" dirty="0"/>
              <a:t>Targeting a second to none EHS </a:t>
            </a:r>
            <a:r>
              <a:rPr lang="en-GB" sz="3500" dirty="0" smtClean="0"/>
              <a:t>Performance </a:t>
            </a:r>
            <a:r>
              <a:rPr lang="en-GB" sz="3500" dirty="0"/>
              <a:t>through </a:t>
            </a:r>
            <a:r>
              <a:rPr lang="en-GB" sz="3500" dirty="0" smtClean="0"/>
              <a:t>Ownership</a:t>
            </a:r>
            <a:endParaRPr lang="en-US" sz="3500" b="0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538530" y="5977721"/>
            <a:ext cx="7404467" cy="343881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38529" y="5964072"/>
            <a:ext cx="7404468" cy="357528"/>
          </a:xfrm>
        </p:spPr>
        <p:txBody>
          <a:bodyPr anchor="ctr"/>
          <a:lstStyle/>
          <a:p>
            <a:r>
              <a:rPr lang="en-US" sz="1200" noProof="0" dirty="0" smtClean="0"/>
              <a:t>Wind Europe Summit 2016 			       </a:t>
            </a:r>
            <a:r>
              <a:rPr lang="en-US" sz="1200" dirty="0" smtClean="0"/>
              <a:t>H</a:t>
            </a:r>
            <a:r>
              <a:rPr lang="en-US" sz="1200" noProof="0" dirty="0" err="1" smtClean="0"/>
              <a:t>amburg</a:t>
            </a:r>
            <a:r>
              <a:rPr lang="en-US" sz="1200" noProof="0" dirty="0" smtClean="0"/>
              <a:t> 27</a:t>
            </a:r>
            <a:r>
              <a:rPr lang="en-US" sz="1200" baseline="30000" noProof="0" dirty="0" smtClean="0"/>
              <a:t>th</a:t>
            </a:r>
            <a:r>
              <a:rPr lang="en-US" sz="1200" noProof="0" dirty="0" smtClean="0"/>
              <a:t>- 29</a:t>
            </a:r>
            <a:r>
              <a:rPr lang="en-US" sz="1200" baseline="30000" noProof="0" dirty="0" smtClean="0"/>
              <a:t>th</a:t>
            </a:r>
            <a:r>
              <a:rPr lang="en-US" sz="1200" noProof="0" dirty="0" smtClean="0"/>
              <a:t> September</a:t>
            </a:r>
            <a:endParaRPr lang="en-US" sz="1200" noProof="0" dirty="0"/>
          </a:p>
        </p:txBody>
      </p:sp>
    </p:spTree>
    <p:extLst>
      <p:ext uri="{BB962C8B-B14F-4D97-AF65-F5344CB8AC3E}">
        <p14:creationId xmlns:p14="http://schemas.microsoft.com/office/powerpoint/2010/main" val="344736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final Success Criteria?</a:t>
            </a:r>
            <a:endParaRPr lang="en-GB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492718915"/>
              </p:ext>
            </p:extLst>
          </p:nvPr>
        </p:nvGraphicFramePr>
        <p:xfrm>
          <a:off x="98961" y="22876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Oval 3"/>
          <p:cNvSpPr/>
          <p:nvPr/>
        </p:nvSpPr>
        <p:spPr bwMode="auto">
          <a:xfrm>
            <a:off x="6483927" y="1900051"/>
            <a:ext cx="2446316" cy="2280062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GB" sz="1600" dirty="0" smtClean="0">
                <a:solidFill>
                  <a:schemeClr val="tx1"/>
                </a:solidFill>
              </a:rPr>
              <a:t>Second to None</a:t>
            </a:r>
          </a:p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GB" sz="1600" dirty="0" smtClean="0">
                <a:solidFill>
                  <a:schemeClr val="tx1"/>
                </a:solidFill>
              </a:rPr>
              <a:t>Safety Performance</a:t>
            </a:r>
          </a:p>
        </p:txBody>
      </p:sp>
    </p:spTree>
    <p:extLst>
      <p:ext uri="{BB962C8B-B14F-4D97-AF65-F5344CB8AC3E}">
        <p14:creationId xmlns:p14="http://schemas.microsoft.com/office/powerpoint/2010/main" val="414834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8530" y="4198514"/>
            <a:ext cx="6480000" cy="1693983"/>
          </a:xfrm>
        </p:spPr>
        <p:txBody>
          <a:bodyPr/>
          <a:lstStyle/>
          <a:p>
            <a:pPr algn="r"/>
            <a:r>
              <a:rPr lang="en-US" sz="1000" dirty="0" smtClean="0"/>
              <a:t>Hasse A. Andreasen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/>
              <a:t>Head </a:t>
            </a:r>
            <a:r>
              <a:rPr lang="en-US" sz="1000" dirty="0" smtClean="0"/>
              <a:t>of EHS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 smtClean="0"/>
              <a:t>Wind Power Offshore</a:t>
            </a:r>
            <a:br>
              <a:rPr lang="en-US" sz="1000" dirty="0" smtClean="0"/>
            </a:b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/>
              <a:t>Princess Road, Princess </a:t>
            </a:r>
            <a:r>
              <a:rPr lang="en-US" sz="1000" dirty="0" smtClean="0"/>
              <a:t>Parkway</a:t>
            </a: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/>
              <a:t>Manchester M20 2UR, United Kingdom</a:t>
            </a:r>
            <a:br>
              <a:rPr lang="en-US" sz="1000" dirty="0"/>
            </a:b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/>
              <a:t>Phone: +44 (0) 7921 244 292 </a:t>
            </a:r>
            <a:br>
              <a:rPr lang="en-US" sz="1000" dirty="0"/>
            </a:br>
            <a:r>
              <a:rPr lang="en-US" sz="1000" dirty="0"/>
              <a:t>E-mail: </a:t>
            </a:r>
            <a:r>
              <a:rPr lang="en-US" sz="1000" dirty="0" smtClean="0"/>
              <a:t>hasse.andreasen@siemens.com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050967" y="460168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5400" b="1" dirty="0" smtClean="0">
                <a:solidFill>
                  <a:schemeClr val="bg1"/>
                </a:solidFill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47340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</a:t>
            </a:r>
            <a:r>
              <a:rPr lang="en-GB" dirty="0" smtClean="0"/>
              <a:t>hy are </a:t>
            </a:r>
            <a:r>
              <a:rPr lang="en-GB" dirty="0"/>
              <a:t>w</a:t>
            </a:r>
            <a:r>
              <a:rPr lang="en-GB" dirty="0" smtClean="0"/>
              <a:t>e here?</a:t>
            </a:r>
            <a:endParaRPr lang="en-GB" dirty="0"/>
          </a:p>
        </p:txBody>
      </p:sp>
      <p:pic>
        <p:nvPicPr>
          <p:cNvPr id="1026" name="Picture 2" descr="C:\Users\z0038skn\Desktop\Media\Pics\8443772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936" y="2261420"/>
            <a:ext cx="4551548" cy="341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625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Safety Performance  –  Offshore FY13 to 16</a:t>
            </a:r>
            <a:endParaRPr lang="en-US" dirty="0"/>
          </a:p>
        </p:txBody>
      </p:sp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280" y="2012420"/>
            <a:ext cx="6814828" cy="368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537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“Ownership Transfer”</a:t>
            </a:r>
            <a:br>
              <a:rPr lang="en-GB" dirty="0" smtClean="0"/>
            </a:br>
            <a:r>
              <a:rPr lang="en-GB" dirty="0" smtClean="0"/>
              <a:t>in a project driven organization</a:t>
            </a:r>
            <a:endParaRPr lang="en-GB" dirty="0"/>
          </a:p>
        </p:txBody>
      </p:sp>
      <p:pic>
        <p:nvPicPr>
          <p:cNvPr id="3" name="Picture 2" descr="C:\Users\z0038skn\Desktop\Media\Pics\Ownership-in-services-market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4919" y="2432765"/>
            <a:ext cx="3755107" cy="282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626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sing a Marine </a:t>
            </a:r>
            <a:r>
              <a:rPr lang="en-GB" dirty="0"/>
              <a:t>O</a:t>
            </a:r>
            <a:r>
              <a:rPr lang="en-GB" dirty="0" smtClean="0"/>
              <a:t>rg </a:t>
            </a:r>
            <a:r>
              <a:rPr lang="en-GB" dirty="0"/>
              <a:t>S</a:t>
            </a:r>
            <a:r>
              <a:rPr lang="en-GB" dirty="0" smtClean="0"/>
              <a:t>tructure as Case Study</a:t>
            </a:r>
            <a:endParaRPr lang="en-GB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45166640"/>
              </p:ext>
            </p:extLst>
          </p:nvPr>
        </p:nvGraphicFramePr>
        <p:xfrm>
          <a:off x="3835730" y="2392874"/>
          <a:ext cx="4857008" cy="2806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rapezoid 3"/>
          <p:cNvSpPr/>
          <p:nvPr/>
        </p:nvSpPr>
        <p:spPr bwMode="auto">
          <a:xfrm rot="10800000">
            <a:off x="955964" y="3515099"/>
            <a:ext cx="2196935" cy="1840675"/>
          </a:xfrm>
          <a:prstGeom prst="trapezoid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1603170" y="2838203"/>
            <a:ext cx="902525" cy="74814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1983181" y="2375063"/>
            <a:ext cx="213756" cy="4631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8" name="Freeform 7"/>
          <p:cNvSpPr/>
          <p:nvPr/>
        </p:nvSpPr>
        <p:spPr bwMode="auto">
          <a:xfrm>
            <a:off x="777836" y="5029127"/>
            <a:ext cx="2624446" cy="369332"/>
          </a:xfrm>
          <a:custGeom>
            <a:avLst/>
            <a:gdLst>
              <a:gd name="connsiteX0" fmla="*/ 0 w 2624446"/>
              <a:gd name="connsiteY0" fmla="*/ 344434 h 344434"/>
              <a:gd name="connsiteX1" fmla="*/ 486888 w 2624446"/>
              <a:gd name="connsiteY1" fmla="*/ 47551 h 344434"/>
              <a:gd name="connsiteX2" fmla="*/ 855023 w 2624446"/>
              <a:gd name="connsiteY2" fmla="*/ 332559 h 344434"/>
              <a:gd name="connsiteX3" fmla="*/ 1235033 w 2624446"/>
              <a:gd name="connsiteY3" fmla="*/ 71301 h 344434"/>
              <a:gd name="connsiteX4" fmla="*/ 1638794 w 2624446"/>
              <a:gd name="connsiteY4" fmla="*/ 285057 h 344434"/>
              <a:gd name="connsiteX5" fmla="*/ 2113807 w 2624446"/>
              <a:gd name="connsiteY5" fmla="*/ 50 h 344434"/>
              <a:gd name="connsiteX6" fmla="*/ 2470067 w 2624446"/>
              <a:gd name="connsiteY6" fmla="*/ 261307 h 344434"/>
              <a:gd name="connsiteX7" fmla="*/ 2624446 w 2624446"/>
              <a:gd name="connsiteY7" fmla="*/ 201930 h 344434"/>
              <a:gd name="connsiteX8" fmla="*/ 2624446 w 2624446"/>
              <a:gd name="connsiteY8" fmla="*/ 201930 h 344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4446" h="344434">
                <a:moveTo>
                  <a:pt x="0" y="344434"/>
                </a:moveTo>
                <a:cubicBezTo>
                  <a:pt x="172192" y="196982"/>
                  <a:pt x="344384" y="49530"/>
                  <a:pt x="486888" y="47551"/>
                </a:cubicBezTo>
                <a:cubicBezTo>
                  <a:pt x="629392" y="45572"/>
                  <a:pt x="730332" y="328601"/>
                  <a:pt x="855023" y="332559"/>
                </a:cubicBezTo>
                <a:cubicBezTo>
                  <a:pt x="979714" y="336517"/>
                  <a:pt x="1104404" y="79218"/>
                  <a:pt x="1235033" y="71301"/>
                </a:cubicBezTo>
                <a:cubicBezTo>
                  <a:pt x="1365662" y="63384"/>
                  <a:pt x="1492332" y="296932"/>
                  <a:pt x="1638794" y="285057"/>
                </a:cubicBezTo>
                <a:cubicBezTo>
                  <a:pt x="1785256" y="273182"/>
                  <a:pt x="1975262" y="4008"/>
                  <a:pt x="2113807" y="50"/>
                </a:cubicBezTo>
                <a:cubicBezTo>
                  <a:pt x="2252352" y="-3908"/>
                  <a:pt x="2384960" y="227660"/>
                  <a:pt x="2470067" y="261307"/>
                </a:cubicBezTo>
                <a:cubicBezTo>
                  <a:pt x="2555174" y="294954"/>
                  <a:pt x="2624446" y="201930"/>
                  <a:pt x="2624446" y="201930"/>
                </a:cubicBezTo>
                <a:lnTo>
                  <a:pt x="2624446" y="201930"/>
                </a:lnTo>
              </a:path>
            </a:pathLst>
          </a:custGeom>
          <a:ln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 W3" charset="0"/>
            </a:endParaRPr>
          </a:p>
        </p:txBody>
      </p:sp>
      <p:sp>
        <p:nvSpPr>
          <p:cNvPr id="11" name="Cloud 10"/>
          <p:cNvSpPr/>
          <p:nvPr/>
        </p:nvSpPr>
        <p:spPr bwMode="auto">
          <a:xfrm>
            <a:off x="1870365" y="2030683"/>
            <a:ext cx="225633" cy="213755"/>
          </a:xfrm>
          <a:prstGeom prst="cloud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2" name="Cloud 11"/>
          <p:cNvSpPr/>
          <p:nvPr/>
        </p:nvSpPr>
        <p:spPr bwMode="auto">
          <a:xfrm>
            <a:off x="1597230" y="1733798"/>
            <a:ext cx="273134" cy="296883"/>
          </a:xfrm>
          <a:prstGeom prst="cloud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sz="1800" b="1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1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amples from “everyday life”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86886" y="1959428"/>
            <a:ext cx="6234545" cy="264819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EHS Inspections and Internal Audit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Preparing/revising Operational </a:t>
            </a:r>
            <a:r>
              <a:rPr lang="en-GB" sz="1600" dirty="0">
                <a:solidFill>
                  <a:schemeClr val="tx1"/>
                </a:solidFill>
              </a:rPr>
              <a:t>D</a:t>
            </a:r>
            <a:r>
              <a:rPr lang="en-GB" sz="1600" dirty="0" smtClean="0">
                <a:solidFill>
                  <a:schemeClr val="tx1"/>
                </a:solidFill>
              </a:rPr>
              <a:t>ocumentation and Work Packs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On-scene Risk </a:t>
            </a:r>
            <a:r>
              <a:rPr lang="en-GB" sz="1600" dirty="0">
                <a:solidFill>
                  <a:schemeClr val="tx1"/>
                </a:solidFill>
              </a:rPr>
              <a:t>A</a:t>
            </a:r>
            <a:r>
              <a:rPr lang="en-GB" sz="1600" dirty="0" smtClean="0">
                <a:solidFill>
                  <a:schemeClr val="tx1"/>
                </a:solidFill>
              </a:rPr>
              <a:t>ssessing (“Pre-Task </a:t>
            </a:r>
            <a:r>
              <a:rPr lang="en-GB" sz="1600" dirty="0">
                <a:solidFill>
                  <a:schemeClr val="tx1"/>
                </a:solidFill>
              </a:rPr>
              <a:t>P</a:t>
            </a:r>
            <a:r>
              <a:rPr lang="en-GB" sz="1600" dirty="0" smtClean="0">
                <a:solidFill>
                  <a:schemeClr val="tx1"/>
                </a:solidFill>
              </a:rPr>
              <a:t>lanning” of unforeseen jobs)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Incident Investigation</a:t>
            </a: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Actively selecting or de-selecting EHS Advice and Support</a:t>
            </a:r>
          </a:p>
        </p:txBody>
      </p:sp>
      <p:pic>
        <p:nvPicPr>
          <p:cNvPr id="117762" name="Picture 2" descr="C:\Users\z0038skn\Desktop\Media\Pics\projec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304" y="3975266"/>
            <a:ext cx="2381003" cy="2381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5489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4" name="Picture 4" descr="http://www.energy.siemens.com/hq/pool/hq/energy-topics/energy-stories/dantysk-projekt/gallery/5899_Bild_5_597x33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369" y="3990109"/>
            <a:ext cx="5686425" cy="32004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ptune </a:t>
            </a:r>
            <a:r>
              <a:rPr lang="en-GB" dirty="0" smtClean="0"/>
              <a:t>Site as </a:t>
            </a:r>
            <a:r>
              <a:rPr lang="en-GB" dirty="0" smtClean="0"/>
              <a:t>pilot project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534389" y="1626918"/>
            <a:ext cx="7623960" cy="36308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Complex operational landscape incl. multiple activities related to pre-assembly, retrofit and load-ou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sz="16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GB" sz="1600" dirty="0" smtClean="0">
                <a:solidFill>
                  <a:schemeClr val="tx1"/>
                </a:solidFill>
              </a:rPr>
              <a:t>Clients very attentive to this part of the project LC due to first step in value chain after product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GB" sz="16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/>
                </a:solidFill>
              </a:rPr>
              <a:t>Weekly Safety Inspections conducted on site covering between 1 and 5 projects </a:t>
            </a:r>
            <a:r>
              <a:rPr lang="en-US" sz="1600" dirty="0" smtClean="0">
                <a:solidFill>
                  <a:schemeClr val="tx1"/>
                </a:solidFill>
              </a:rPr>
              <a:t>simultaneousl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chemeClr val="tx1"/>
                </a:solidFill>
              </a:rPr>
              <a:t>Inspections originally 100% scope                                                                          of EHS – </a:t>
            </a:r>
            <a:r>
              <a:rPr lang="en-US" sz="1600" dirty="0" smtClean="0">
                <a:solidFill>
                  <a:schemeClr val="tx1"/>
                </a:solidFill>
              </a:rPr>
              <a:t>changed </a:t>
            </a:r>
            <a:r>
              <a:rPr lang="en-US" sz="1600" dirty="0" smtClean="0">
                <a:solidFill>
                  <a:schemeClr val="tx1"/>
                </a:solidFill>
              </a:rPr>
              <a:t>to a </a:t>
            </a:r>
            <a:r>
              <a:rPr lang="en-US" sz="1600" dirty="0" smtClean="0">
                <a:solidFill>
                  <a:schemeClr val="tx1"/>
                </a:solidFill>
              </a:rPr>
              <a:t>joint effort                                                                 involving all </a:t>
            </a:r>
            <a:r>
              <a:rPr lang="en-US" sz="1600" dirty="0" smtClean="0">
                <a:solidFill>
                  <a:schemeClr val="tx1"/>
                </a:solidFill>
              </a:rPr>
              <a:t>key ops </a:t>
            </a:r>
            <a:r>
              <a:rPr lang="en-US" sz="1600" dirty="0" smtClean="0">
                <a:solidFill>
                  <a:schemeClr val="tx1"/>
                </a:solidFill>
              </a:rPr>
              <a:t>roles in                                                                                 site </a:t>
            </a:r>
            <a:r>
              <a:rPr lang="en-US" sz="1600" dirty="0" smtClean="0">
                <a:solidFill>
                  <a:schemeClr val="tx1"/>
                </a:solidFill>
              </a:rPr>
              <a:t>management</a:t>
            </a:r>
            <a:endParaRPr lang="en-US" sz="1600" dirty="0">
              <a:solidFill>
                <a:schemeClr val="tx1"/>
              </a:solidFill>
            </a:endParaRPr>
          </a:p>
          <a:p>
            <a:pPr marL="171450" indent="-1714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en-GB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735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afety performance for </a:t>
            </a:r>
            <a:r>
              <a:rPr lang="en-GB" dirty="0" smtClean="0"/>
              <a:t>Neptune </a:t>
            </a:r>
            <a:r>
              <a:rPr lang="en-GB" dirty="0" smtClean="0"/>
              <a:t>(FY13-16)</a:t>
            </a:r>
            <a:br>
              <a:rPr lang="en-GB" dirty="0" smtClean="0"/>
            </a:br>
            <a:r>
              <a:rPr lang="en-GB" dirty="0" smtClean="0"/>
              <a:t>        – documented improvement as sign of success!</a:t>
            </a:r>
            <a:endParaRPr lang="en-GB" dirty="0"/>
          </a:p>
        </p:txBody>
      </p:sp>
      <p:pic>
        <p:nvPicPr>
          <p:cNvPr id="1187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652" y="1905285"/>
            <a:ext cx="7137688" cy="4056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17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dditional measures optimizing the</a:t>
            </a:r>
            <a:br>
              <a:rPr lang="en-GB" dirty="0" smtClean="0"/>
            </a:br>
            <a:r>
              <a:rPr lang="en-GB" dirty="0"/>
              <a:t>p</a:t>
            </a:r>
            <a:r>
              <a:rPr lang="en-GB" dirty="0" smtClean="0"/>
              <a:t>roject execution from an EHS perspective </a:t>
            </a:r>
            <a:endParaRPr lang="en-GB" dirty="0"/>
          </a:p>
        </p:txBody>
      </p:sp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586" y="2779539"/>
            <a:ext cx="4152900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05641" y="158013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b="1" dirty="0" smtClean="0">
                <a:solidFill>
                  <a:schemeClr val="accent1"/>
                </a:solidFill>
              </a:rPr>
              <a:t>Implementation of the “Site Inspector”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sz="2000" b="1" dirty="0" smtClean="0">
                <a:solidFill>
                  <a:schemeClr val="accent1"/>
                </a:solidFill>
              </a:rPr>
              <a:t>as combined QEHS site management concept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4377042"/>
              </p:ext>
            </p:extLst>
          </p:nvPr>
        </p:nvGraphicFramePr>
        <p:xfrm>
          <a:off x="475013" y="2933204"/>
          <a:ext cx="2540298" cy="3594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Acrobat Document" r:id="rId4" imgW="7552440" imgH="10693080" progId="AcroExch.Document.11">
                  <p:embed/>
                </p:oleObj>
              </mc:Choice>
              <mc:Fallback>
                <p:oleObj name="Acrobat Document" r:id="rId4" imgW="7552440" imgH="10693080" progId="AcroExch.Document.11">
                  <p:embed/>
                  <p:pic>
                    <p:nvPicPr>
                      <p:cNvPr id="0" name="Objek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5013" y="2933204"/>
                        <a:ext cx="2540298" cy="3594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776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987" y="2660788"/>
            <a:ext cx="2903213" cy="2421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812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MC Design 2013"/>
  <p:tag name="EE4P_STYLE_ID" val="0f874eca-b6af-462a-a19c-daeff12f69d2"/>
  <p:tag name="THINKCELLUNDODONOTDELETE" val="0"/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EE4P_AGENDAWIZARD" val="&lt;ee4p&gt;&lt;layouts&gt;&lt;layout name=&quot;SMC Design&quot; id=&quot;2_2&quot;&gt;&lt;standard&gt;&lt;textframe horizontalAnchor=&quot;1&quot; marginBottom=&quot;0&quot; marginLeft=&quot;0&quot; marginRight=&quot;0&quot; marginTop=&quot;0&quot; orientation=&quot;1&quot; verticalAnchor=&quot;1&quot; /&gt;&lt;font name=&quot;Arial&quot; bold=&quot;1&quot; italic=&quot;0&quot; color=&quot;#879BAA&quot; /&gt;&lt;paragraphformat firstLineIndent=&quot;0&quot; leftIndent=&quot;0&quot; rightIndent=&quot;0&quot; alignment=&quot;1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&quot; subtitle=&quot;Agenda&quot; sizingModeId=&quot;1&quot; fontSize=&quot;16&quot; startTime=&quot;540&quot; timeFormatId=&quot;1&quot; startItemNo=&quot;1&quot; createSingleAgendaSlide=&quot;0&quot; createSeparatingSlides=&quot;1&quot; createBackupSlide=&quot;1&quot; /&gt;&lt;columns&gt;&lt;column field=&quot;timeslot&quot; label=&quot;Time Slot&quot; visible=&quot;1&quot; checked=&quot;1&quot; leftSpacing=&quot;0&quot; rightSpacing=&quot;16&quot; dock=&quot;1&quot; /&gt;&lt;column field=&quot;itemno&quot; label=&quot;No.&quot; visible=&quot;0&quot; checked=&quot;0&quot; leftSpacing=&quot;16&quot; rightSpacing=&quot;16&quot; dock=&quot;1&quot; /&gt;&lt;column field=&quot;topic&quot; label=&quot;Topic&quot; leftSpacing=&quot;16&quot; rightSpacing=&quot;16&quot; dock=&quot;1&quot; /&gt;&lt;column field=&quot;responsible&quot; label=&quot;Responsible&quot; visible=&quot;1&quot; checked=&quot;1&quot; leftSpacing=&quot;16&quot; rightSpacing=&quot;16&quot; dock=&quot;1&quot; /&gt;&lt;column field=&quot;freecolumn&quot; label=&quot;&quot; visible=&quot;1&quot; checked=&quot;0&quot; leftSpacing=&quot;16&quot; rightSpacing=&quot;16&quot; dock=&quot;1&quot; /&gt;&lt;column field=&quot;pageno&quot; label=&quot;Page No.&quot; visible=&quot;1&quot; checked=&quot;0&quot; leftSpacing=&quot;16&quot; rightSpacing=&quot;0&quot; dock=&quot;1&quot; /&gt;&lt;/columns&gt;&lt;position left=&quot;42.5&quot; top=&quot;139.625&quot; width=&quot;646.25&quot; height=&quot;345.875&quot; /&gt;&lt;subtitle&gt;&lt;position left=&quot;42.62504&quot; top=&quot;111.25&quot; width=&quot;646.25&quot; height=&quot;16.96409&quot; /&gt;&lt;font size=&quot;14&quot; color=&quot;#000000&quot; bold=&quot;0&quot; /&gt;&lt;textframe verticalAnchor=&quot;1&quot; marginBottom=&quot;0&quot; marginTop=&quot;0&quot; /&gt;&lt;paragraphformat alignment=&quot;1&quot; /&gt;&lt;/subtitle&gt;&lt;settings allowedSizingModeIds=&quot;1|2&quot; allowedFontSizes=&quot;8|9|10.5|11|12|14|16&quot; allowedTimeFormatIds=&quot;1|2|3&quot; customLayoutName=&quot;Free content&quot; showBreak=&quot;1&quot; singleAgendaSlideSelected=&quot;0&quot; backupSlideTitle=&quot;Backup&quot; topMargin=&quot;0.33&quot; leftMargin=&quot;0.5&quot; /&gt;&lt;!-- Headings --&gt;&lt;!--&#10;      &lt;headings bottomMinSpacing=&quot;10&quot; bottomMaxSpacing=&quot;20&quot;&gt;&#10;        &lt;element field=&quot;timeslot&quot; type=&quot;autoshape&quot; autoShapeType=&quot;1&quot;/&gt;&#10;        &lt;element field=&quot;pageno&quot; type=&quot;autoshape&quot; autoShapeType=&quot;1&quot;/&gt;&#10;        &lt;element field=&quot;topic&quot; type=&quot;autoshape&quot; autoShapeType=&quot;1&quot;/&gt;&#10;        &lt;element field=&quot;responsible&quot; type=&quot;autoshape&quot; autoShapeType=&quot;1&quot;/&gt;&#10;        &lt;element field=&quot;freecolumn&quot; type=&quot;autoshape&quot; autoShapeType=&quot;1&quot;/&gt;&#10;      &lt;/headings&gt;&#10;      --&gt;&lt;!-- Agenda item formats --&gt;&lt;cases&gt;&lt;case level=&quot;1&quot; selected=&quot;0&quot; break=&quot;0&quot; topMinSpacing=&quot;7&quot; topMaxSpacing=&quot;11&quot; bottomMinSpacing=&quot;0&quot; bottomMaxSpacing=&quot;0&quot;&gt;&lt;element field=&quot;topic&quot; type=&quot;autoshape&quot; autoShapeType=&quot;1&quot;&gt;&lt;paragraphformat alignment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1&quot; /&gt;&lt;/element&gt;&lt;/case&gt;&lt;case level=&quot;1&quot; selected=&quot;1&quot; break=&quot;0&quot; topMinSpacing=&quot;7&quot; topMaxSpacing=&quot;11&quot; bottomMinSpacing=&quot;0&quot; bottomMaxSpacing=&quot;0&quot;&gt;&lt;element field=&quot;topic&quot; type=&quot;autoshape&quot; autoShapeType=&quot;1&quot;&gt;&lt;paragraphformat alignment=&quot;1&quot; /&gt;&lt;font color=&quot;#000000&quot; /&gt;&lt;/element&gt;&lt;element field=&quot;responsible&quot; type=&quot;autoshape&quot; autoShapeType=&quot;1&quot;&gt;&lt;paragraphformat alignment=&quot;1&quot; /&gt;&lt;font color=&quot;#000000&quot; /&gt;&lt;/element&gt;&lt;element field=&quot;freecolumn&quot; type=&quot;autoshape&quot; autoShapeType=&quot;1&quot;&gt;&lt;paragraphformat alignment=&quot;1&quot; /&gt;&lt;font color=&quot;#000000&quot; /&gt;&lt;/element&gt;&lt;element field=&quot;timeslot&quot; type=&quot;autoshape&quot; autoShapeType=&quot;1&quot;&gt;&lt;paragraphformat alignment=&quot;1&quot; /&gt;&lt;font color=&quot;#000000&quot; /&gt;&lt;/element&gt;&lt;element field=&quot;pageno&quot; type=&quot;autoshape&quot; autoShapeType=&quot;1&quot;&gt;&lt;paragraphformat alignment=&quot;1&quot; /&gt;&lt;font color=&quot;#000000&quot; /&gt;&lt;/element&gt;&lt;/case&gt;&lt;case level=&quot;2&quot; selected=&quot;0&quot; break=&quot;0&quot; topMinSpacing=&quot;3&quot; topMaxSpacing=&quot;6&quot; bottomMinSpacing=&quot;0&quot; bottomMaxSpacing=&quot;0&quot;&gt;&lt;element field=&quot;topic&quot; type=&quot;autoshape&quot; autoShapeType=&quot;1&quot;&gt;&lt;paragraphformat alignment=&quot;1&quot; firstLineIndent=&quot;-0.875&quot; leftIndent=&quot;0.875&quot; /&gt;&lt;bulletformat character=&quot;8226&quot; relativeSize=&quot;1&quot; useTextColor=&quot;0&quot; useTextFont=&quot;1&quot; color=&quot;#879BAA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1&quot; /&gt;&lt;/element&gt;&lt;/case&gt;&lt;case level=&quot;2&quot; selected=&quot;1&quot; break=&quot;0&quot; topMinSpacing=&quot;3&quot; topMaxSpacing=&quot;6&quot; bottomMinSpacing=&quot;0&quot; bottomMaxSpacing=&quot;0&quot;&gt;&lt;element field=&quot;topic&quot; type=&quot;autoshape&quot; autoShapeType=&quot;1&quot;&gt;&lt;paragraphformat alignment=&quot;1&quot; firstLineIndent=&quot;-0.875&quot; leftIndent=&quot;0.875&quot; /&gt;&lt;font color=&quot;#000000&quot; /&gt;&lt;bulletformat character=&quot;8226&quot; relativeSize=&quot;1&quot; useTextColor=&quot;0&quot; useTextFont=&quot;1&quot; color=&quot;#879BAA&quot; /&gt;&lt;/element&gt;&lt;element field=&quot;responsible&quot; type=&quot;autoshape&quot; autoShapeType=&quot;1&quot;&gt;&lt;paragraphformat alignment=&quot;1&quot; /&gt;&lt;font color=&quot;#000000&quot; /&gt;&lt;/element&gt;&lt;element field=&quot;freecolumn&quot; type=&quot;autoshape&quot; autoShapeType=&quot;1&quot;&gt;&lt;paragraphformat alignment=&quot;1&quot; /&gt;&lt;font color=&quot;#000000&quot; /&gt;&lt;/element&gt;&lt;element field=&quot;timeslot&quot; type=&quot;autoshape&quot; autoShapeType=&quot;1&quot;&gt;&lt;paragraphformat alignment=&quot;1&quot; /&gt;&lt;font color=&quot;#000000&quot; /&gt;&lt;/element&gt;&lt;element field=&quot;pageno&quot; type=&quot;autoshape&quot; autoShapeType=&quot;1&quot;&gt;&lt;paragraphformat alignment=&quot;1&quot; /&gt;&lt;font color=&quot;#000000&quot; /&gt;&lt;/element&gt;&lt;/case&gt;&lt;case level=&quot;1&quot; selected=&quot;0&quot; break=&quot;1&quot; topMinSpacing=&quot;7&quot; topMaxSpacing=&quot;11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1&quot; /&gt;&lt;font italic=&quot;1&quot; /&gt;&lt;/element&gt;&lt;/case&gt;&lt;case level=&quot;1&quot; selected=&quot;1&quot; break=&quot;1&quot; topMinSpacing=&quot;7&quot; topMaxSpacing=&quot;11&quot; bottomMinSpacing=&quot;0&quot; bottomMaxSpacing=&quot;0&quot;&gt;&lt;element field=&quot;topic&quot; type=&quot;autoshape&quot; autoShapeType=&quot;1&quot;&gt;&lt;paragraphformat alignment=&quot;1&quot; /&gt;&lt;font color=&quot;#000000&quot; italic=&quot;1&quot; /&gt;&lt;/element&gt;&lt;element field=&quot;responsible&quot; type=&quot;autoshape&quot; autoShapeType=&quot;1&quot;&gt;&lt;paragraphformat alignment=&quot;1&quot; /&gt;&lt;font color=&quot;#000000&quot; italic=&quot;1&quot; /&gt;&lt;/element&gt;&lt;element field=&quot;freecolumn&quot; type=&quot;autoshape&quot; autoShapeType=&quot;1&quot;&gt;&lt;paragraphformat alignment=&quot;1&quot; /&gt;&lt;font color=&quot;#000000&quot; italic=&quot;1&quot; /&gt;&lt;/element&gt;&lt;element field=&quot;timeslot&quot; type=&quot;autoshape&quot; autoShapeType=&quot;1&quot;&gt;&lt;paragraphformat alignment=&quot;1&quot; /&gt;&lt;font color=&quot;#000000&quot; italic=&quot;1&quot; /&gt;&lt;/element&gt;&lt;element field=&quot;pageno&quot; type=&quot;autoshape&quot; autoShapeType=&quot;1&quot;&gt;&lt;paragraphformat alignment=&quot;1&quot; /&gt;&lt;font color=&quot;#000000&quot; italic=&quot;1&quot; /&gt;&lt;/element&gt;&lt;/case&gt;&lt;case level=&quot;2&quot; selected=&quot;0&quot; break=&quot;1&quot; topMinSpacing=&quot;3&quot; topMaxSpacing=&quot;6&quot; bottomMinSpacing=&quot;0&quot; bottomMaxSpacing=&quot;0&quot;&gt;&lt;element field=&quot;topic&quot; type=&quot;autoshape&quot; autoShapeType=&quot;1&quot;&gt;&lt;paragraphformat alignment=&quot;1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1&quot; /&gt;&lt;font italic=&quot;1&quot; /&gt;&lt;/element&gt;&lt;/case&gt;&lt;case level=&quot;2&quot; selected=&quot;1&quot; break=&quot;1&quot; topMinSpacing=&quot;3&quot; topMaxSpacing=&quot;6&quot; bottomMinSpacing=&quot;0&quot; bottomMaxSpacing=&quot;0&quot;&gt;&lt;element field=&quot;topic&quot; type=&quot;autoshape&quot; autoShapeType=&quot;1&quot;&gt;&lt;paragraphformat alignment=&quot;1&quot; /&gt;&lt;font color=&quot;#000000&quot; italic=&quot;1&quot; /&gt;&lt;/element&gt;&lt;element field=&quot;responsible&quot; type=&quot;autoshape&quot; autoShapeType=&quot;1&quot;&gt;&lt;paragraphformat alignment=&quot;1&quot; /&gt;&lt;font color=&quot;#000000&quot; italic=&quot;1&quot; /&gt;&lt;/element&gt;&lt;element field=&quot;freecolumn&quot; type=&quot;autoshape&quot; autoShapeType=&quot;1&quot;&gt;&lt;paragraphformat alignment=&quot;1&quot; /&gt;&lt;font color=&quot;#000000&quot; italic=&quot;1&quot; /&gt;&lt;/element&gt;&lt;element field=&quot;timeslot&quot; type=&quot;autoshape&quot; autoShapeType=&quot;1&quot;&gt;&lt;paragraphformat alignment=&quot;1&quot; /&gt;&lt;font color=&quot;#000000&quot; italic=&quot;1&quot; /&gt;&lt;/element&gt;&lt;element field=&quot;pageno&quot; type=&quot;autoshape&quot; autoShapeType=&quot;1&quot;&gt;&lt;paragraphformat alignment=&quot;1&quot; /&gt;&lt;font color=&quot;#000000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&quot; subtitle=&quot;Agenda&quot; sizingModeId=&quot;1&quot; fontSize=&quot;16&quot; startTime=&quot;540&quot; timeFormatId=&quot;1&quot; startItemNo=&quot;1&quot; createSingleAgendaSlide=&quot;0&quot; createSeparatingSlides=&quot;1&quot; createBackupSlide=&quot;1&quot; layoutId=&quot;2_2&quot; fontSizeAuto=&quot;0&quot; createSections=&quot;0&quot; backupSlideId=&quot;fb468fea-7cf5-43b2-901d-4f1d912add4a&quot;&gt;&lt;columns&gt;&lt;column field=&quot;timeslot&quot; label=&quot;Time Slot&quot; visible=&quot;1&quot; checked=&quot;1&quot; leftSpacing=&quot;0&quot; rightSpacing=&quot;16&quot; dock=&quot;1&quot; /&gt;&lt;column field=&quot;itemno&quot; label=&quot;No.&quot; visible=&quot;0&quot; checked=&quot;0&quot; leftSpacing=&quot;16&quot; rightSpacing=&quot;16&quot; dock=&quot;1&quot; /&gt;&lt;column field=&quot;topic&quot; label=&quot;Topic&quot; leftSpacing=&quot;16&quot; rightSpacing=&quot;16&quot; dock=&quot;1&quot; /&gt;&lt;column field=&quot;responsible&quot; label=&quot;Responsible&quot; visible=&quot;1&quot; checked=&quot;1&quot; leftSpacing=&quot;16&quot; rightSpacing=&quot;16&quot; dock=&quot;1&quot; /&gt;&lt;column field=&quot;freecolumn&quot; label=&quot;&quot; visible=&quot;1&quot; checked=&quot;0&quot; leftSpacing=&quot;16&quot; rightSpacing=&quot;16&quot; dock=&quot;1&quot; /&gt;&lt;column field=&quot;pageno&quot; label=&quot;Page No.&quot; visible=&quot;1&quot; checked=&quot;0&quot; leftSpacing=&quot;16&quot; rightSpacing=&quot;0&quot; dock=&quot;1&quot; /&gt;&lt;/columns&gt;&lt;items /&gt;&lt;/agenda&gt;&lt;agenda name=&quot;New Agenda&quot; title=&quot;7 Levers Weekly Update Meeting&quot; subtitle=&quot;Agenda, 26 November 2015&quot; sizingModeId=&quot;1&quot; fontSize=&quot;16&quot; startTime=&quot;780&quot; timeFormatId=&quot;1&quot; startItemNo=&quot;1&quot; createSingleAgendaSlide=&quot;1&quot; createSeparatingSlides=&quot;1&quot; createBackupSlide=&quot;0&quot; layoutId=&quot;2_2&quot; fontSizeAuto=&quot;0&quot; createSections=&quot;0&quot; singleSlideId=&quot;05c58de1-7217-4521-9935-4ea281c11919&quot; backupSlideId=&quot;&quot;&gt;&lt;columns&gt;&lt;column field=&quot;timeslot&quot; label=&quot;Time Slot&quot; visible=&quot;1&quot; checked=&quot;1&quot; leftSpacing=&quot;0&quot; rightSpacing=&quot;16&quot; dock=&quot;1&quot; /&gt;&lt;column field=&quot;itemno&quot; label=&quot;No.&quot; visible=&quot;0&quot; checked=&quot;0&quot; leftSpacing=&quot;16&quot; rightSpacing=&quot;16&quot; dock=&quot;1&quot; /&gt;&lt;column field=&quot;topic&quot; label=&quot;Topic&quot; leftSpacing=&quot;16&quot; rightSpacing=&quot;16&quot; dock=&quot;1&quot; /&gt;&lt;column field=&quot;responsible&quot; label=&quot;Responsible&quot; visible=&quot;1&quot; checked=&quot;1&quot; leftSpacing=&quot;16&quot; rightSpacing=&quot;16&quot; dock=&quot;1&quot; /&gt;&lt;column field=&quot;freecolumn&quot; label=&quot;&quot; visible=&quot;1&quot; checked=&quot;0&quot; leftSpacing=&quot;16&quot; rightSpacing=&quot;16&quot; dock=&quot;1&quot; /&gt;&lt;column field=&quot;pageno&quot; label=&quot;Page No.&quot; visible=&quot;1&quot; checked=&quot;0&quot; leftSpacing=&quot;16&quot; rightSpacing=&quot;0&quot; dock=&quot;1&quot; /&gt;&lt;/columns&gt;&lt;items&gt;&lt;item duration=&quot;5&quot; level=&quot;1&quot; generateAgendaSlide=&quot;1&quot; showAgendaItem=&quot;1&quot; isBreak=&quot;0&quot; itemNo=&quot;1&quot; subItemNo=&quot;0&quot; topic=&quot;Welcome / Introduction&quot; responsible=&quot;David Lübeck&quot; agendaSlideId=&quot;6d28b806-1d7b-4371-a6dc-1c0d556e84ba&quot; /&gt;&lt;item duration=&quot;5&quot; level=&quot;1&quot; generateAgendaSlide=&quot;1&quot; showAgendaItem=&quot;1&quot; isBreak=&quot;0&quot; itemNo=&quot;2&quot; subItemNo=&quot;0&quot; topic=&quot;Lever 1 - Lessons Learned&quot; responsible=&quot;Peter Overgaard&quot; agendaSlideId=&quot;af8832eb-753d-4701-9651-db94e092942f&quot; /&gt;&lt;item duration=&quot;5&quot; level=&quot;1&quot; generateAgendaSlide=&quot;1&quot; showAgendaItem=&quot;1&quot; isBreak=&quot;0&quot; itemNo=&quot;3&quot; subItemNo=&quot;0&quot; topic=&quot;Lever 2 - Planning &amp;amp; Scheduling&quot; responsible=&quot;Lene Golriz&quot; agendaSlideId=&quot;2a723edb-185e-429a-a9e9-df3dc3600828&quot; /&gt;&lt;item duration=&quot;5&quot; level=&quot;1&quot; generateAgendaSlide=&quot;1&quot; showAgendaItem=&quot;1&quot; isBreak=&quot;0&quot; itemNo=&quot;4&quot; subItemNo=&quot;0&quot; topic=&quot;Lever 3 - Risk Management&quot; responsible=&quot;Jeppe Dalgaard / Anders Oestergaard&quot; agendaSlideId=&quot;9c09ebc0-2f51-49cc-a32f-135b464b5c2e&quot; /&gt;&lt;item duration=&quot;5&quot; level=&quot;1&quot; generateAgendaSlide=&quot;1&quot; showAgendaItem=&quot;1&quot; isBreak=&quot;0&quot; itemNo=&quot;5&quot; subItemNo=&quot;0&quot; topic=&quot;Lever 4 - ECM&quot; responsible=&quot;Per Due&quot; agendaSlideId=&quot;fbfccf1c-30d2-49e6-a29f-50c2cdd1b3e2&quot; /&gt;&lt;item duration=&quot;5&quot; level=&quot;1&quot; generateAgendaSlide=&quot;1&quot; showAgendaItem=&quot;1&quot; isBreak=&quot;0&quot; itemNo=&quot;6&quot; subItemNo=&quot;0&quot; topic=&quot;Lever 5 - QA &amp;amp; documentation&quot; responsible=&quot;Tove Feld / Rüdiger Urhahn&quot; agendaSlideId=&quot;ddf3a1bd-609e-48cc-be63-6597d74053cd&quot; /&gt;&lt;item duration=&quot;5&quot; level=&quot;1&quot; generateAgendaSlide=&quot;1&quot; showAgendaItem=&quot;1&quot; isBreak=&quot;0&quot; itemNo=&quot;7&quot; subItemNo=&quot;0&quot; topic=&quot;Lever 6 - 24One&quot; responsible=&quot;Sam Tidmarsh / Klaus Goerrissen&quot; agendaSlideId=&quot;9df11ad4-0c44-4402-a025-1aeaf0d74d35&quot; /&gt;&lt;item duration=&quot;5&quot; level=&quot;1&quot; generateAgendaSlide=&quot;1&quot; showAgendaItem=&quot;1&quot; isBreak=&quot;0&quot; itemNo=&quot;8&quot; subItemNo=&quot;0&quot; topic=&quot;Lever 7 - Reduce NCCs&quot; responsible=&quot;Jens Schulze-Wondrak&quot; agendaSlideId=&quot;faa0d30e-58f0-4b12-ba9e-53a6408889ee&quot; /&gt;&lt;item duration=&quot;5&quot; level=&quot;1&quot; generateAgendaSlide=&quot;1&quot; showAgendaItem=&quot;1&quot; isBreak=&quot;0&quot; itemNo=&quot;9&quot; subItemNo=&quot;0&quot; topic=&quot;Wrap-Up&quot; responsible=&quot;David Lübeck&quot; agendaSlideId=&quot;51ab25d0-2f31-479e-8867-eebf0ff7dfef&quot; /&gt;&lt;/items&gt;&lt;/agenda&gt;&lt;/contents&gt;&lt;/ee4p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317,5"/>
  <p:tag name="CDT_PROT_HEIGHT" val="181,3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181,37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2,5"/>
  <p:tag name="CDT_PROT_WIDTH" val="317,5"/>
  <p:tag name="CDT_PROT_HEIGHT" val="181,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1,375"/>
  <p:tag name="CDT_PROT_WIDTH" val="317,5"/>
  <p:tag name="CDT_PROT_HEIGHT" val="181,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314,4998"/>
  <p:tag name="CDT_PROT_WIDTH" val="261,0002"/>
  <p:tag name="CDT_PROT_HEIGHT" val="181,37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260,6249"/>
  <p:tag name="CDT_PROT_HEIGHT" val="181,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484,75"/>
  <p:tag name="CDT_PROT_WIDTH" val="235,25"/>
  <p:tag name="CDT_PROT_HEIGHT" val="3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111,25"/>
  <p:tag name="CDT_PROT_LEFT" val="42,50008"/>
  <p:tag name="CDT_PROT_WIDTH" val="646,3751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3,9999-42,5-181,5-317,5"/>
  <p:tag name="CDT_MASTERSHAPE5" val="6:304-371,375-181,5-317,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4998-181,375-261,0002"/>
  <p:tag name="CDT_MASTERSHAPE4" val="12:304-42,5-181,5-260,6249"/>
  <p:tag name="CDT_MASTERSHAPE5" val="15:304-314,4999-181,5-261,0001"/>
  <p:tag name="CDT_MASTERSHAPE6" val="9:111,25-586,8279-374,25-102,047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9:0-0-0-0"/>
  <p:tag name="CDT_MASTERSHAPE11" val="30:0-0-0-0"/>
  <p:tag name="CDT_MASTERSHAPE12" val="3072:0-0-0-0"/>
  <p:tag name="CDT_MASTERSHAPE13" val="3073:0-0-0-0"/>
  <p:tag name="CDT_MASTERSHAPE14" val="3074:0-0-0-0"/>
  <p:tag name="CDT_MASTERSHAPE15" val="3075:0-0-0-0"/>
  <p:tag name="CDT_MASTERSHAPE16" val="3076:0-0-0-0"/>
  <p:tag name="CDT_MASTERSHAPE17" val="3077:0-0-0-0"/>
  <p:tag name="CDT_MASTERSHAPE18" val="3080:0-0-0-0"/>
  <p:tag name="CDT_MASTERSHAPE19" val="3081:0-0-0-0"/>
  <p:tag name="CDT_MASTERSHAPE20" val="3082:0-0-0-0"/>
  <p:tag name="CDT_MASTERSHAPE21" val="3083:0-0-0-0"/>
  <p:tag name="CDT_MASTERSHAPE22" val="3084:0-0-0-0"/>
  <p:tag name="CDT_MASTERSHAPE23" val="3085:0-0-0-0"/>
  <p:tag name="CDT_MASTERSHAPE24" val="3086:0-0-0-0"/>
  <p:tag name="CDT_MASTERSHAPE25" val="3087:0-0-0-0"/>
  <p:tag name="CDT_MASTERSHAPE26" val="3088:0-0-0-0"/>
  <p:tag name="CDT_MASTERSHAPE27" val="3089:0-0-0-0"/>
  <p:tag name="CDT_MASTERSHAPE28" val="3090:0-0-0-0"/>
  <p:tag name="CDT_MASTERSHAPE29" val="3091:0-0-0-0"/>
  <p:tag name="CDT_MASTERSHAPE30" val="3092:0-0-0-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374,2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317,5"/>
  <p:tag name="CDT_PROT_HEIGHT" val="181,37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181,37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3,9999"/>
  <p:tag name="CDT_PROT_LEFT" val="42,5"/>
  <p:tag name="CDT_PROT_WIDTH" val="317,5"/>
  <p:tag name="CDT_PROT_HEIGHT" val="181,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1,375"/>
  <p:tag name="CDT_PROT_WIDTH" val="317,5"/>
  <p:tag name="CDT_PROT_HEIGHT" val="181,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4-42,5-181,5-317,5"/>
  <p:tag name="CDT_MASTERSHAPE5" val="6:304-371,375-181,5-317,5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314,4998"/>
  <p:tag name="CDT_PROT_WIDTH" val="261,0002"/>
  <p:tag name="CDT_PROT_HEIGHT" val="181,37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260,6249"/>
  <p:tag name="CDT_PROT_HEIGHT" val="181,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60"/>
  <p:tag name="CDT_PROT_HEIGHT" val="374,2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60"/>
  <p:tag name="CDT_PROT_HEIGHT" val="374,2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5-181,375-261"/>
  <p:tag name="CDT_MASTERSHAPE4" val="12:304-42,5-181,5-260,6249"/>
  <p:tag name="CDT_MASTERSHAPE5" val="15:304-314,4999-181,5-261,0001"/>
  <p:tag name="CDT_MASTERSHAPE6" val="9:111,25-586,8279-374,25-102,047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False"/>
  <p:tag name="CDT_PROT" val="2"/>
  <p:tag name="CDT_PROT_TOP" val="111,2501"/>
  <p:tag name="CDT_PROT_LEFT" val="314,5"/>
  <p:tag name="CDT_PROT_WIDTH" val="261"/>
  <p:tag name="CDT_PROT_HEIGHT" val="181,375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False"/>
  <p:tag name="CDT_PROT" val="2"/>
  <p:tag name="CDT_PROT_TOP" val="304"/>
  <p:tag name="CDT_PROT_LEFT" val="42,5"/>
  <p:tag name="CDT_PROT_WIDTH" val="260,6249"/>
  <p:tag name="CDT_PROT_HEIGHT" val="181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10:0-0-0-0"/>
  <p:tag name="CDT_MASTERSHAPE17" val="15:0-0-0-0"/>
  <p:tag name="CDT_MASTERSHAPE18" val="16:0-0-0-0"/>
  <p:tag name="CDT_MASTERSHAPE19" val="17:0-0-0-0"/>
  <p:tag name="CDT_MASTERSHAPE20" val="18:0-0-0-0"/>
  <p:tag name="CDT_MASTERSHAPE21" val="19:0-0-0-0"/>
  <p:tag name="CDT_MASTERSHAPE22" val="20:0-0-0-0"/>
  <p:tag name="CDT_MASTERSHAPE23" val="21:0-0-0-0"/>
  <p:tag name="CDT_MASTERSHAPE24" val="22:0-0-0-0"/>
  <p:tag name="CDT_MASTERSHAPE25" val="23:0-0-0-0"/>
  <p:tag name="CDT_MASTERSHAPE26" val="24:0-0-0-0"/>
  <p:tag name="CDT_MASTERSHAPE27" val="25:0-0-0-0"/>
  <p:tag name="CDT_MASTERSHAPE28" val="26:0-0-0-0"/>
  <p:tag name="CDT_MASTERSHAPE29" val="27:0-0-0-0"/>
  <p:tag name="CDT_MASTERSHAPE30" val="28:0-0-0-0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60"/>
  <p:tag name="CDT_PROT_HEIGHT" val="374,2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Siemens_Confidentiality"/>
  <p:tag name="EE4P_COPYRIGHT" val="1"/>
  <p:tag name="EE4P_INTELLIGENT_ELEMENT" val="Confidential © Siemens AG {yyyy}. All rights reserve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04,0945"/>
  <p:tag name="CDT_PROT_HEIGHT" val="374,2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57,9528"/>
  <p:tag name="CDT_PROT_WIDTH" val="215,4222"/>
  <p:tag name="CDT_PROT_HEIGHT" val="374,2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84,75"/>
  <p:tag name="CDT_PROT_WIDTH" val="204,125"/>
  <p:tag name="CDT_PROT_HEIGHT" val="374,2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260,6249"/>
  <p:tag name="CDT_PROT_HEIGHT" val="374,2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14,4999"/>
  <p:tag name="CDT_PROT_WIDTH" val="261,0001"/>
  <p:tag name="CDT_PROT_HEIGHT" val="374,2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533"/>
  <p:tag name="CDT_PROT_HEIGHT" val="181,37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533"/>
  <p:tag name="CDT_PROT_HEIGHT" val="181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4F7qxsJk2m5ozEmI4Uf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260,6249"/>
  <p:tag name="CDT_PROT_HEIGHT" val="181,37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False"/>
  <p:tag name="CDT_PROT" val="2"/>
  <p:tag name="CDT_PROT_TOP" val="111,2501"/>
  <p:tag name="CDT_PROT_LEFT" val="314,5"/>
  <p:tag name="CDT_PROT_WIDTH" val="261"/>
  <p:tag name="CDT_PROT_HEIGHT" val="181,37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False"/>
  <p:tag name="CDT_PROT" val="2"/>
  <p:tag name="CDT_PROT_TOP" val="304"/>
  <p:tag name="CDT_PROT_LEFT" val="42,5"/>
  <p:tag name="CDT_PROT_WIDTH" val="260,6249"/>
  <p:tag name="CDT_PROT_HEIGHT" val="181,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14,4999"/>
  <p:tag name="CDT_PROT_WIDTH" val="261,0001"/>
  <p:tag name="CDT_PROT_HEIGHT" val="181,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586,8279"/>
  <p:tag name="CDT_PROT_WIDTH" val="102,0471"/>
  <p:tag name="CDT_PROT_HEIGHT" val="374,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2,5"/>
  <p:tag name="CDT_PROT_WIDTH" val="136,063"/>
  <p:tag name="CDT_PROT_HEIGHT" val="76,2073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484,75"/>
  <p:tag name="CDT_PROT_WIDTH" val="235,25"/>
  <p:tag name="CDT_PROT_HEIGHT" val="3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Siemens_Confidentiality"/>
  <p:tag name="EE4P_COPYRIGHT" val="1"/>
  <p:tag name="EE4P_INTELLIGENT_ELEMENT" val="Confidential © Siemens AG {yyyy}. All rights reserve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111,25"/>
  <p:tag name="CDT_PROT_LEFT" val="42,50008"/>
  <p:tag name="CDT_PROT_WIDTH" val="646,3751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PROT" val="2"/>
  <p:tag name="CDT_PROT_TOP" val="111,25"/>
  <p:tag name="CDT_PROT_LEFT" val="0"/>
  <p:tag name="CDT_PROT_WIDTH" val="360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720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111,25"/>
  <p:tag name="CDT_PROT_LEFT" val="42,50008"/>
  <p:tag name="CDT_PROT_WIDTH" val="646,3751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575,5001"/>
  <p:tag name="CDT_PROT_WIDTH" val="113,375"/>
  <p:tag name="CDT_PROT_HEIGHT" val="63,500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3,9999-42,5-181,5-317,5"/>
  <p:tag name="CDT_MASTERSHAPE5" val="6:304-371,375-181,5-317,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4998-181,375-261,0002"/>
  <p:tag name="CDT_MASTERSHAPE4" val="12:304-42,5-181,5-260,6249"/>
  <p:tag name="CDT_MASTERSHAPE5" val="15:304-314,4999-181,5-261,0001"/>
  <p:tag name="CDT_MASTERSHAPE6" val="9:111,25-586,8279-374,25-102,047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9:0-0-0-0"/>
  <p:tag name="CDT_MASTERSHAPE11" val="30:0-0-0-0"/>
  <p:tag name="CDT_MASTERSHAPE12" val="3072:0-0-0-0"/>
  <p:tag name="CDT_MASTERSHAPE13" val="3073:0-0-0-0"/>
  <p:tag name="CDT_MASTERSHAPE14" val="3074:0-0-0-0"/>
  <p:tag name="CDT_MASTERSHAPE15" val="3075:0-0-0-0"/>
  <p:tag name="CDT_MASTERSHAPE16" val="3076:0-0-0-0"/>
  <p:tag name="CDT_MASTERSHAPE17" val="3077:0-0-0-0"/>
  <p:tag name="CDT_MASTERSHAPE18" val="3080:0-0-0-0"/>
  <p:tag name="CDT_MASTERSHAPE19" val="3081:0-0-0-0"/>
  <p:tag name="CDT_MASTERSHAPE20" val="3082:0-0-0-0"/>
  <p:tag name="CDT_MASTERSHAPE21" val="3083:0-0-0-0"/>
  <p:tag name="CDT_MASTERSHAPE22" val="3084:0-0-0-0"/>
  <p:tag name="CDT_MASTERSHAPE23" val="3085:0-0-0-0"/>
  <p:tag name="CDT_MASTERSHAPE24" val="3086:0-0-0-0"/>
  <p:tag name="CDT_MASTERSHAPE25" val="3087:0-0-0-0"/>
  <p:tag name="CDT_MASTERSHAPE26" val="3088:0-0-0-0"/>
  <p:tag name="CDT_MASTERSHAPE27" val="3089:0-0-0-0"/>
  <p:tag name="CDT_MASTERSHAPE28" val="3090:0-0-0-0"/>
  <p:tag name="CDT_MASTERSHAPE29" val="3091:0-0-0-0"/>
  <p:tag name="CDT_MASTERSHAPE30" val="3092:0-0-0-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906"/>
  <p:tag name="CDT_PROT_LEFT" val="0"/>
  <p:tag name="CDT_PROT_WIDTH" val="200,7495"/>
  <p:tag name="CDT_PROT_HEIGHT" val="20,4094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720"/>
  <p:tag name="CDT_PROT_HEIGHT" val="3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906"/>
  <p:tag name="CDT_PROT_LEFT" val="0"/>
  <p:tag name="CDT_PROT_WIDTH" val="98,37409"/>
  <p:tag name="CDT_PROT_HEIGHT" val="20,4094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906"/>
  <p:tag name="CDT_PROT_LEFT" val="212,1243"/>
  <p:tag name="CDT_PROT_WIDTH" val="507,8756"/>
  <p:tag name="CDT_PROT_HEIGHT" val="20,4094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19,75"/>
  <p:tag name="CDT_PROT_WIDTH" val="700,25"/>
  <p:tag name="CDT_PROT_HEIGHT" val="148,173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71,3751"/>
  <p:tag name="CDT_PROT_WIDTH" val="348,625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PROT" val="2"/>
  <p:tag name="CDT_PROT_TOP" val="111,25"/>
  <p:tag name="CDT_PROT_LEFT" val="371,3751"/>
  <p:tag name="CDT_PROT_WIDTH" val="348,62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2"/>
  <p:tag name="CDT_PROT_TOP" val="111,25"/>
  <p:tag name="CDT_PROT_LEFT" val="371,3751"/>
  <p:tag name="CDT_PROT_WIDTH" val="348,625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0008"/>
  <p:tag name="CDT_PROT_WIDTH" val="646,3751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533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1,375"/>
  <p:tag name="CDT_PROT_WIDTH" val="317,5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2,5"/>
  <p:tag name="CDT_PROT_WIDTH" val="317,5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720"/>
  <p:tag name="CDT_PROT_HEIGHT" val="99,8750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2,5"/>
  <p:tag name="CDT_PROT_WIDTH" val="646,3751"/>
  <p:tag name="CDT_PROT_HEIGHT" val="181,37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2,5"/>
  <p:tag name="CDT_PROT_WIDTH" val="646,3751"/>
  <p:tag name="CDT_PROT_HEIGHT" val="181,5"/>
</p:tagLst>
</file>

<file path=ppt/theme/theme1.xml><?xml version="1.0" encoding="utf-8"?>
<a:theme xmlns:a="http://schemas.openxmlformats.org/drawingml/2006/main" name="1_Siemens 2013 – 4:3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 Wind Power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7D7CD"/>
        </a:solidFill>
        <a:ln>
          <a:solidFill>
            <a:srgbClr val="D7D7CD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90000" tIns="90000" rIns="90000" bIns="90000" numCol="1" spcCol="72000" rtlCol="0" anchor="ctr" anchorCtr="0">
        <a:noAutofit/>
      </a:bodyPr>
      <a:lstStyle>
        <a:defPPr algn="ctr">
          <a:spcBef>
            <a:spcPct val="0"/>
          </a:spcBef>
          <a:buFont typeface="Wingdings" charset="0"/>
          <a:buNone/>
          <a:defRPr sz="1200" dirty="0" err="1" smtClean="0">
            <a:solidFill>
              <a:srgbClr val="000000"/>
            </a:solidFill>
            <a:latin typeface="+mj-lt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>
        <a:spAutoFit/>
      </a:bodyPr>
      <a:lstStyle>
        <a:defPPr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.potx" id="{1E3945E5-1C6F-40DB-8797-2CC5E76DB8FA}" vid="{C517439F-93AA-4219-93B7-13A959FFE1B0}"/>
    </a:ext>
  </a:extLst>
</a:theme>
</file>

<file path=ppt/theme/theme2.xml><?xml version="1.0" encoding="utf-8"?>
<a:theme xmlns:a="http://schemas.openxmlformats.org/drawingml/2006/main" name="Siemens 2016 – 4:3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1_Siemens 2016 – 4:3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:properties xmlns:p="http://schemas.microsoft.com/office/2006/metadata/properties" xmlns:xsi="http://www.w3.org/2001/XMLSchema-instance">
  <documentManagement>
    <_dlc_DocId xmlns="c9dbf70f-e460-4d24-a4e5-01028c7f0819">D10010292-211328854-6</_dlc_DocId>
    <_dlc_DocIdUrl xmlns="c9dbf70f-e460-4d24-a4e5-01028c7f0819">
      <Url>https://workspace.wp.siemens.com/departments/10010292/Internal/_layouts/15/DocIdRedir.aspx?ID=D10010292-211328854-6</Url>
      <Description>D10010292-211328854-6</Description>
    </_dlc_DocIdUrl>
    <wcoreunivQuickLink xmlns="efa5e16e-8c12-485c-9fec-c064cb7a2cc2">false</wcoreunivQuickLink>
    <TaxCatchAll xmlns="0493db86-3e20-4810-a58e-566fa50d1a8b">
      <Value>1</Value>
      <Value>3</Value>
    </TaxCatchAll>
    <wcoreunivSourceLanguageTaxHTField0 xmlns="efa5e16e-8c12-485c-9fec-c064cb7a2cc2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</TermName>
          <TermId xmlns="http://schemas.microsoft.com/office/infopath/2007/PartnerControls">a6062ab0-ab6b-4bf1-82cb-f4fbb1ba5a38</TermId>
        </TermInfo>
      </Terms>
    </wcoreunivSourceLanguageTaxHTField0>
    <wcoreunivStatusTaxHTField0 xmlns="efa5e16e-8c12-485c-9fec-c064cb7a2cc2">
      <Terms xmlns="http://schemas.microsoft.com/office/infopath/2007/PartnerControls"/>
    </wcoreunivStatusTaxHTField0>
    <wcoreunivInformationClassifTaxHTField0 xmlns="efa5e16e-8c12-485c-9fec-c064cb7a2cc2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ea2d4d97-a5a1-45dc-8933-743bf76080a5</TermId>
        </TermInfo>
      </Terms>
    </wcoreunivInformationClassifTaxHTField0>
    <wcoreunivPreparerOrgCode xmlns="efa5e16e-8c12-485c-9fec-c064cb7a2cc2">WP OF QM＆EHS BE CP</wcoreunivPreparerOrgCode>
    <RelatedItems xmlns="http://schemas.microsoft.com/sharepoint/v3" xsi:nil="true"/>
  </documentManagement>
</p:properties>
</file>

<file path=customXml/item10.xml><?xml version="1.0" encoding="utf-8"?>
<p4ppTags>
  <Name>One object (small)</Name>
  <PpLayout>16</PpLayout>
  <Index>11</Index>
</p4ppTags>
</file>

<file path=customXml/item11.xml><?xml version="1.0" encoding="utf-8"?>
<p4ppTags>
  <Name>Chapter title (big bar down)</Name>
  <PpLayout>1</PpLayout>
  <Index>5</Index>
</p4ppTags>
</file>

<file path=customXml/item12.xml><?xml version="1.0" encoding="utf-8"?>
<p4ppTags>
  <Name>One object (large)</Name>
  <PpLayout>16</PpLayout>
  <Index>10</Index>
</p4ppTags>
</file>

<file path=customXml/item13.xml><?xml version="1.0" encoding="utf-8"?>
<p4ppTags>
  <Name>Two rows + Navigation</Name>
  <PpLayout>32</PpLayout>
  <Index>19</Index>
</p4ppTags>
</file>

<file path=customXml/item14.xml><?xml version="1.0" encoding="utf-8"?>
<p4ppTags>
  <Name>One object (small)</Name>
  <PpLayout>16</PpLayout>
  <Index>11</Index>
</p4ppTags>
</file>

<file path=customXml/item15.xml><?xml version="1.0" encoding="utf-8"?>
<p4ppTags>
  <Name>Free Content</Name>
  <PpLayout>11</PpLayout>
  <Index>9</Index>
</p4ppTags>
</file>

<file path=customXml/item16.xml><?xml version="1.0" encoding="utf-8"?>
<p4ppTags>
  <Name>Two rows</Name>
  <PpLayout>32</PpLayout>
  <Index>13</Index>
</p4ppTags>
</file>

<file path=customXml/item17.xml><?xml version="1.0" encoding="utf-8"?>
<p4ppTags>
  <Name>Image + Index/Contact</Name>
  <PpLayout>32</PpLayout>
  <Index>7</Index>
</p4ppTags>
</file>

<file path=customXml/item18.xml><?xml version="1.0" encoding="utf-8"?>
<p4ppTags>
  <Name>Chapter title (big bar down)</Name>
  <PpLayout>1</PpLayout>
  <Index>5</Index>
</p4ppTags>
</file>

<file path=customXml/item19.xml><?xml version="1.0" encoding="utf-8"?>
<p4ppTags>
  <Name>Image + Index/Contact</Name>
  <PpLayout>32</PpLayout>
  <Index>7</Index>
</p4ppTags>
</file>

<file path=customXml/item2.xml><?xml version="1.0" encoding="utf-8"?>
<p4ppTags>
  <Name>One object (small) + Navigation</Name>
  <PpLayout>32</PpLayout>
  <Index>17</Index>
</p4ppTags>
</file>

<file path=customXml/item20.xml><?xml version="1.0" encoding="utf-8"?>
<p4ppTags>
  <Name>Free Content + Navigation</Name>
  <PpLayout>32</PpLayout>
  <Index>16</Index>
</p4ppTags>
</file>

<file path=customXml/item21.xml><?xml version="1.0" encoding="utf-8"?>
<p4ppTags>
  <Name>Two rows</Name>
  <PpLayout>32</PpLayout>
  <Index>13</Index>
</p4ppTags>
</file>

<file path=customXml/item22.xml><?xml version="1.0" encoding="utf-8"?>
<p4ppTags>
  <Name>Free Content + Navigation</Name>
  <PpLayout>32</PpLayout>
  <Index>16</Index>
</p4ppTags>
</file>

<file path=customXml/item23.xml><?xml version="1.0" encoding="utf-8"?>
<p4ppTags>
  <Name>Four objects + Navigation</Name>
  <PpLayout>32</PpLayout>
  <Index>20</Index>
</p4ppTags>
</file>

<file path=customXml/item24.xml><?xml version="1.0" encoding="utf-8"?>
<p4ppTags>
  <Name>Two rows + Navigation</Name>
  <PpLayout>32</PpLayout>
  <Index>19</Index>
</p4ppTags>
</file>

<file path=customXml/item25.xml><?xml version="1.0" encoding="utf-8"?>
<p4ppTags>
  <Name>Chapter title (big bar up)</Name>
  <PpLayout>1</PpLayout>
  <Index>6</Index>
</p4ppTags>
</file>

<file path=customXml/item26.xml><?xml version="1.0" encoding="utf-8"?>
<p4ppTags>
  <Name>Title (big bar up)</Name>
  <PpLayout>1</PpLayout>
  <Index>2</Index>
</p4ppTags>
</file>

<file path=customXml/item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.xml><?xml version="1.0" encoding="utf-8"?>
<p4ppTags>
  <Name>Two columns</Name>
  <PpLayout>29</PpLayout>
  <Index>12</Index>
</p4ppTags>
</file>

<file path=customXml/item29.xml><?xml version="1.0" encoding="utf-8"?>
<p4ppTags>
  <Name>Three columns</Name>
  <PpLayout>32</PpLayout>
  <Index>14</Index>
</p4ppTags>
</file>

<file path=customXml/item3.xml><?xml version="1.0" encoding="utf-8"?>
<p4ppTags>
  <Name>Two columns + Navigation</Name>
  <PpLayout>32</PpLayout>
  <Index>18</Index>
</p4ppTags>
</file>

<file path=customXml/item30.xml><?xml version="1.0" encoding="utf-8"?>
<p4ppTags>
  <Name>Three columns</Name>
  <PpLayout>32</PpLayout>
  <Index>14</Index>
</p4ppTags>
</file>

<file path=customXml/item31.xml><?xml version="1.0" encoding="utf-8"?>
<p4ppTags>
  <Name>Four objects + Navigation</Name>
  <PpLayout>32</PpLayout>
  <Index>20</Index>
</p4ppTags>
</file>

<file path=customXml/item32.xml><?xml version="1.0" encoding="utf-8"?>
<p4ppTags>
  <Name>Three columns</Name>
  <PpLayout>32</PpLayout>
  <Index>14</Index>
</p4ppTags>
</file>

<file path=customXml/item33.xml><?xml version="1.0" encoding="utf-8"?>
<ct:contentTypeSchema xmlns:ct="http://schemas.microsoft.com/office/2006/metadata/contentType" xmlns:ma="http://schemas.microsoft.com/office/2006/metadata/properties/metaAttributes" ct:_="" ma:_="" ma:contentTypeName="SiemensDocument" ma:contentTypeID="0x0101008E0E804301E44F5FA4203E339FD23A7B00D52C3A50E7B0E14A9544F1D4B37C1FB0000F49A258E6650249860D4DE1844652F3" ma:contentTypeVersion="12" ma:contentTypeDescription="Siemens Universal MetaData - Base Document" ma:contentTypeScope="" ma:versionID="c75856e8efd9a72f17931f9272f69c11">
  <xsd:schema xmlns:xsd="http://www.w3.org/2001/XMLSchema" xmlns:xs="http://www.w3.org/2001/XMLSchema" xmlns:p="http://schemas.microsoft.com/office/2006/metadata/properties" xmlns:ns1="http://schemas.microsoft.com/sharepoint/v3" xmlns:ns2="efa5e16e-8c12-485c-9fec-c064cb7a2cc2" xmlns:ns3="0493db86-3e20-4810-a58e-566fa50d1a8b" xmlns:ns4="c9dbf70f-e460-4d24-a4e5-01028c7f0819" targetNamespace="http://schemas.microsoft.com/office/2006/metadata/properties" ma:root="true" ma:fieldsID="e348233c78d02b1ee14a5b743a4340a1" ns1:_="" ns2:_="" ns3:_="" ns4:_="">
    <xsd:import namespace="http://schemas.microsoft.com/sharepoint/v3"/>
    <xsd:import namespace="efa5e16e-8c12-485c-9fec-c064cb7a2cc2"/>
    <xsd:import namespace="0493db86-3e20-4810-a58e-566fa50d1a8b"/>
    <xsd:import namespace="c9dbf70f-e460-4d24-a4e5-01028c7f0819"/>
    <xsd:element name="properties">
      <xsd:complexType>
        <xsd:sequence>
          <xsd:element name="documentManagement">
            <xsd:complexType>
              <xsd:all>
                <xsd:element ref="ns2:wcoreunivInformationClassifTaxHTField0" minOccurs="0"/>
                <xsd:element ref="ns3:TaxCatchAll" minOccurs="0"/>
                <xsd:element ref="ns3:TaxCatchAllLabel" minOccurs="0"/>
                <xsd:element ref="ns2:wcoreunivSourceLanguageTaxHTField0" minOccurs="0"/>
                <xsd:element ref="ns2:wcoreunivPreparerOrgCode" minOccurs="0"/>
                <xsd:element ref="ns2:wcoreunivStatusTaxHTField0" minOccurs="0"/>
                <xsd:element ref="ns1:RelatedItems" minOccurs="0"/>
                <xsd:element ref="ns2:wcoreunivQuickLink" minOccurs="0"/>
                <xsd:element ref="ns4:_dlc_DocId" minOccurs="0"/>
                <xsd:element ref="ns4:_dlc_DocIdUr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latedItems" ma:index="10" nillable="true" ma:displayName="Related Items" ma:internalName="RelatedItem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a5e16e-8c12-485c-9fec-c064cb7a2cc2" elementFormDefault="qualified">
    <xsd:import namespace="http://schemas.microsoft.com/office/2006/documentManagement/types"/>
    <xsd:import namespace="http://schemas.microsoft.com/office/infopath/2007/PartnerControls"/>
    <xsd:element name="wcoreunivInformationClassifTaxHTField0" ma:index="2" ma:taxonomy="true" ma:internalName="wcoreunivInformationClassifTaxHTField0" ma:taxonomyFieldName="wcoreunivInformationClassif" ma:displayName="Classification" ma:fieldId="{c9955005-35f3-4380-94b9-a923e4a87fdf}" ma:sspId="fe934826-9d52-4002-a510-c4097d2369c8" ma:termSetId="5a1a0bba-5970-4acd-bee9-c9bf9747e4f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wcoreunivSourceLanguageTaxHTField0" ma:index="6" nillable="true" ma:taxonomy="true" ma:internalName="wcoreunivSourceLanguageTaxHTField0" ma:taxonomyFieldName="wcoreunivSourceLanguage" ma:displayName="Source Language" ma:default="1;#en|a6062ab0-ab6b-4bf1-82cb-f4fbb1ba5a38" ma:fieldId="{43f5fd57-e9c3-4e4d-a151-dbb01ae666b6}" ma:sspId="fe934826-9d52-4002-a510-c4097d2369c8" ma:termSetId="b505b3a5-fb88-47ea-bea4-650593204a3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wcoreunivPreparerOrgCode" ma:index="7" nillable="true" ma:displayName="Preparer Organisation Code" ma:internalName="wcoreunivPreparerOrgCode">
      <xsd:simpleType>
        <xsd:restriction base="dms:Text"/>
      </xsd:simpleType>
    </xsd:element>
    <xsd:element name="wcoreunivStatusTaxHTField0" ma:index="9" nillable="true" ma:taxonomy="true" ma:internalName="wcoreunivStatusTaxHTField0" ma:taxonomyFieldName="wcoreunivStatus" ma:displayName="Status (manual)" ma:fieldId="{0af9d9fa-3c2a-4eda-b3a5-8208185a54e7}" ma:sspId="fe934826-9d52-4002-a510-c4097d2369c8" ma:termSetId="e345eb6c-b70d-4551-8287-3d5b4cd85e2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wcoreunivQuickLink" ma:index="11" nillable="true" ma:displayName="Quick access" ma:description="Display in QuickLinks web part" ma:internalName="wcoreunivQuickLink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93db86-3e20-4810-a58e-566fa50d1a8b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description="" ma:hidden="true" ma:list="{b64f819e-8c61-4d52-bc2c-7c8c9c45d32d}" ma:internalName="TaxCatchAll" ma:showField="CatchAllData" ma:web="c9dbf70f-e460-4d24-a4e5-01028c7f08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description="" ma:hidden="true" ma:list="{b64f819e-8c61-4d52-bc2c-7c8c9c45d32d}" ma:internalName="TaxCatchAllLabel" ma:readOnly="true" ma:showField="CatchAllDataLabel" ma:web="c9dbf70f-e460-4d24-a4e5-01028c7f08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bf70f-e460-4d24-a4e5-01028c7f0819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4.xml><?xml version="1.0" encoding="utf-8"?>
<p4ppTags>
  <Name>One object (small) + Navigation</Name>
  <PpLayout>32</PpLayout>
  <Index>17</Index>
</p4ppTags>
</file>

<file path=customXml/item35.xml><?xml version="1.0" encoding="utf-8"?>
<p4ppTags>
  <Name>Free Content</Name>
  <PpLayout>11</PpLayout>
  <Index>9</Index>
</p4ppTags>
</file>

<file path=customXml/item36.xml><?xml version="1.0" encoding="utf-8"?>
<p4ppTags>
  <Name>Chapter title (big bar up)</Name>
  <PpLayout>1</PpLayout>
  <Index>6</Index>
</p4ppTags>
</file>

<file path=customXml/item37.xml><?xml version="1.0" encoding="utf-8"?>
<p4ppTags>
  <Name>One object (large)</Name>
  <PpLayout>16</PpLayout>
  <Index>10</Index>
</p4ppTags>
</file>

<file path=customXml/item38.xml><?xml version="1.0" encoding="utf-8"?>
<p4ppTags>
  <Name>Text + Index</Name>
  <PpLayout>32</PpLayout>
  <Index>8</Index>
</p4ppTags>
</file>

<file path=customXml/item39.xml><?xml version="1.0" encoding="utf-8"?>
<p4ppTags>
  <Name>Free Content</Name>
  <PpLayout>11</PpLayout>
  <Index>9</Index>
</p4ppTag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EventReceiversItemUpdated</Name>
    <Synchronization>Synchronous</Synchronization>
    <Type>10001</Type>
    <SequenceNumber>1</SequenceNumber>
    <Url/>
    <Assembly>Siemens.WSS.W.Core.Global, Version=1.0.0.0, Culture=neutral, PublicKeyToken=2c2eed1d129c38d3</Assembly>
    <Class>Siemens.WSS.W.Core.Global.EventReceivers.EventReceivers</Class>
    <Data/>
    <Filter/>
  </Receiver>
</spe:Receivers>
</file>

<file path=customXml/item40.xml><?xml version="1.0" encoding="utf-8"?>
<p4ppTags>
  <Name>Two columns + Navigation</Name>
  <PpLayout>32</PpLayout>
  <Index>18</Index>
</p4ppTags>
</file>

<file path=customXml/item41.xml><?xml version="1.0" encoding="utf-8"?>
<p4ppTags>
  <Name>Text + Index</Name>
  <PpLayout>32</PpLayout>
  <Index>8</Index>
</p4ppTags>
</file>

<file path=customXml/item42.xml><?xml version="1.0" encoding="utf-8"?>
<p4ppTags>
  <Name>Two rows</Name>
  <PpLayout>32</PpLayout>
  <Index>13</Index>
</p4ppTags>
</file>

<file path=customXml/item43.xml><?xml version="1.0" encoding="utf-8"?>
<p4ppTags>
  <Name>Four objects</Name>
  <PpLayout>24</PpLayout>
  <Index>15</Index>
</p4ppTags>
</file>

<file path=customXml/item44.xml><?xml version="1.0" encoding="utf-8"?>
<p4ppTags>
  <Name>Two rows + Navigation</Name>
  <PpLayout>32</PpLayout>
  <Index>19</Index>
</p4ppTags>
</file>

<file path=customXml/item45.xml><?xml version="1.0" encoding="utf-8"?>
<p4ppTags>
  <Name>Free Content</Name>
  <PpLayout>11</PpLayout>
  <Index>9</Index>
</p4ppTags>
</file>

<file path=customXml/item46.xml><?xml version="1.0" encoding="utf-8"?>
<p4ppTags>
  <Name>One object (small) + Navigation</Name>
  <PpLayout>32</PpLayout>
  <Index>17</Index>
</p4ppTags>
</file>

<file path=customXml/item47.xml><?xml version="1.0" encoding="utf-8"?>
<p4ppTags>
  <Name>Two columns + Navigation</Name>
  <PpLayout>32</PpLayout>
  <Index>18</Index>
</p4ppTags>
</file>

<file path=customXml/item48.xml><?xml version="1.0" encoding="utf-8"?>
<p4ppTags>
  <Name>Four objects</Name>
  <PpLayout>24</PpLayout>
  <Index>15</Index>
</p4ppTags>
</file>

<file path=customXml/item5.xml><?xml version="1.0" encoding="utf-8"?>
<p4ppTags>
  <Name>1_Two rows</Name>
  <PpLayout>32</PpLayout>
  <Index>14</Index>
</p4ppTags>
</file>

<file path=customXml/item6.xml><?xml version="1.0" encoding="utf-8"?>
<p4ppTags>
  <Name>Four objects + Navigation</Name>
  <PpLayout>32</PpLayout>
  <Index>20</Index>
</p4ppTags>
</file>

<file path=customXml/item7.xml><?xml version="1.0" encoding="utf-8"?>
<p4ppTags>
  <Name>Two rows</Name>
  <PpLayout>32</PpLayout>
  <Index>13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Text + Index</Name>
  <PpLayout>32</PpLayout>
  <Index>8</Index>
</p4ppTags>
</file>

<file path=customXml/itemProps1.xml><?xml version="1.0" encoding="utf-8"?>
<ds:datastoreItem xmlns:ds="http://schemas.openxmlformats.org/officeDocument/2006/customXml" ds:itemID="{242138D1-6CAA-42B5-8D4F-7EDB5E480AF6}">
  <ds:schemaRefs>
    <ds:schemaRef ds:uri="efa5e16e-8c12-485c-9fec-c064cb7a2cc2"/>
    <ds:schemaRef ds:uri="http://www.w3.org/XML/1998/namespace"/>
    <ds:schemaRef ds:uri="http://schemas.microsoft.com/office/2006/documentManagement/types"/>
    <ds:schemaRef ds:uri="http://purl.org/dc/elements/1.1/"/>
    <ds:schemaRef ds:uri="c9dbf70f-e460-4d24-a4e5-01028c7f0819"/>
    <ds:schemaRef ds:uri="http://schemas.microsoft.com/office/infopath/2007/PartnerControls"/>
    <ds:schemaRef ds:uri="http://schemas.microsoft.com/sharepoint/v3"/>
    <ds:schemaRef ds:uri="http://purl.org/dc/terms/"/>
    <ds:schemaRef ds:uri="http://schemas.openxmlformats.org/package/2006/metadata/core-properties"/>
    <ds:schemaRef ds:uri="0493db86-3e20-4810-a58e-566fa50d1a8b"/>
    <ds:schemaRef ds:uri="http://schemas.microsoft.com/office/2006/metadata/properties"/>
    <ds:schemaRef ds:uri="http://purl.org/dc/dcmitype/"/>
  </ds:schemaRefs>
</ds:datastoreItem>
</file>

<file path=customXml/itemProps10.xml><?xml version="1.0" encoding="utf-8"?>
<ds:datastoreItem xmlns:ds="http://schemas.openxmlformats.org/officeDocument/2006/customXml" ds:itemID="{1F1720C5-4703-43D6-8658-9664364A5F44}">
  <ds:schemaRefs/>
</ds:datastoreItem>
</file>

<file path=customXml/itemProps11.xml><?xml version="1.0" encoding="utf-8"?>
<ds:datastoreItem xmlns:ds="http://schemas.openxmlformats.org/officeDocument/2006/customXml" ds:itemID="{E2CDCDB5-FAED-4E7D-A764-25BBD6CB938B}">
  <ds:schemaRefs/>
</ds:datastoreItem>
</file>

<file path=customXml/itemProps12.xml><?xml version="1.0" encoding="utf-8"?>
<ds:datastoreItem xmlns:ds="http://schemas.openxmlformats.org/officeDocument/2006/customXml" ds:itemID="{F83D9B3D-32FB-4E61-9A5C-9458A32B50F2}">
  <ds:schemaRefs/>
</ds:datastoreItem>
</file>

<file path=customXml/itemProps13.xml><?xml version="1.0" encoding="utf-8"?>
<ds:datastoreItem xmlns:ds="http://schemas.openxmlformats.org/officeDocument/2006/customXml" ds:itemID="{1035ACEA-AD0A-447B-83EF-D2C1EF9E000A}">
  <ds:schemaRefs/>
</ds:datastoreItem>
</file>

<file path=customXml/itemProps14.xml><?xml version="1.0" encoding="utf-8"?>
<ds:datastoreItem xmlns:ds="http://schemas.openxmlformats.org/officeDocument/2006/customXml" ds:itemID="{53F110C7-7C4D-44A4-A9E1-BED3376FF4C6}">
  <ds:schemaRefs/>
</ds:datastoreItem>
</file>

<file path=customXml/itemProps15.xml><?xml version="1.0" encoding="utf-8"?>
<ds:datastoreItem xmlns:ds="http://schemas.openxmlformats.org/officeDocument/2006/customXml" ds:itemID="{95789B4B-8D74-4814-B28B-23A0C89A0563}">
  <ds:schemaRefs/>
</ds:datastoreItem>
</file>

<file path=customXml/itemProps16.xml><?xml version="1.0" encoding="utf-8"?>
<ds:datastoreItem xmlns:ds="http://schemas.openxmlformats.org/officeDocument/2006/customXml" ds:itemID="{0EBD0B76-BB7B-4CC1-87BB-6CAEEB83EF84}">
  <ds:schemaRefs/>
</ds:datastoreItem>
</file>

<file path=customXml/itemProps17.xml><?xml version="1.0" encoding="utf-8"?>
<ds:datastoreItem xmlns:ds="http://schemas.openxmlformats.org/officeDocument/2006/customXml" ds:itemID="{DEA0458C-DEBA-4AF6-9F7A-19E56F725947}">
  <ds:schemaRefs/>
</ds:datastoreItem>
</file>

<file path=customXml/itemProps18.xml><?xml version="1.0" encoding="utf-8"?>
<ds:datastoreItem xmlns:ds="http://schemas.openxmlformats.org/officeDocument/2006/customXml" ds:itemID="{E37B9D95-084A-401E-BBBC-CE1E364C1D8E}">
  <ds:schemaRefs/>
</ds:datastoreItem>
</file>

<file path=customXml/itemProps19.xml><?xml version="1.0" encoding="utf-8"?>
<ds:datastoreItem xmlns:ds="http://schemas.openxmlformats.org/officeDocument/2006/customXml" ds:itemID="{1B4C234C-75BD-490D-9ACC-E5CC429D69A9}">
  <ds:schemaRefs/>
</ds:datastoreItem>
</file>

<file path=customXml/itemProps2.xml><?xml version="1.0" encoding="utf-8"?>
<ds:datastoreItem xmlns:ds="http://schemas.openxmlformats.org/officeDocument/2006/customXml" ds:itemID="{F9883C83-AF28-4074-8E78-AFCB92DFAAE6}">
  <ds:schemaRefs/>
</ds:datastoreItem>
</file>

<file path=customXml/itemProps20.xml><?xml version="1.0" encoding="utf-8"?>
<ds:datastoreItem xmlns:ds="http://schemas.openxmlformats.org/officeDocument/2006/customXml" ds:itemID="{73BA62B5-2E29-4055-ACB0-ECA28401094F}">
  <ds:schemaRefs/>
</ds:datastoreItem>
</file>

<file path=customXml/itemProps21.xml><?xml version="1.0" encoding="utf-8"?>
<ds:datastoreItem xmlns:ds="http://schemas.openxmlformats.org/officeDocument/2006/customXml" ds:itemID="{169EBDB5-20D6-4105-A608-C67F3FDCD670}">
  <ds:schemaRefs/>
</ds:datastoreItem>
</file>

<file path=customXml/itemProps22.xml><?xml version="1.0" encoding="utf-8"?>
<ds:datastoreItem xmlns:ds="http://schemas.openxmlformats.org/officeDocument/2006/customXml" ds:itemID="{73EB7CBD-052C-4771-BAB4-4510CDB5B194}">
  <ds:schemaRefs/>
</ds:datastoreItem>
</file>

<file path=customXml/itemProps23.xml><?xml version="1.0" encoding="utf-8"?>
<ds:datastoreItem xmlns:ds="http://schemas.openxmlformats.org/officeDocument/2006/customXml" ds:itemID="{27A83573-8CB6-4021-9F17-D144C1D7E8B6}">
  <ds:schemaRefs/>
</ds:datastoreItem>
</file>

<file path=customXml/itemProps24.xml><?xml version="1.0" encoding="utf-8"?>
<ds:datastoreItem xmlns:ds="http://schemas.openxmlformats.org/officeDocument/2006/customXml" ds:itemID="{9BA095A5-587F-48EE-AA01-61B230E5CED2}">
  <ds:schemaRefs/>
</ds:datastoreItem>
</file>

<file path=customXml/itemProps25.xml><?xml version="1.0" encoding="utf-8"?>
<ds:datastoreItem xmlns:ds="http://schemas.openxmlformats.org/officeDocument/2006/customXml" ds:itemID="{A7F853FC-AD16-48F2-9C26-87711D4AC3FF}">
  <ds:schemaRefs/>
</ds:datastoreItem>
</file>

<file path=customXml/itemProps26.xml><?xml version="1.0" encoding="utf-8"?>
<ds:datastoreItem xmlns:ds="http://schemas.openxmlformats.org/officeDocument/2006/customXml" ds:itemID="{36FF95F9-38E7-40EA-B17B-95D18A7F2BB3}">
  <ds:schemaRefs/>
</ds:datastoreItem>
</file>

<file path=customXml/itemProps27.xml><?xml version="1.0" encoding="utf-8"?>
<ds:datastoreItem xmlns:ds="http://schemas.openxmlformats.org/officeDocument/2006/customXml" ds:itemID="{DB3F4460-2BDA-4ED8-AFBB-518BE89424EE}">
  <ds:schemaRefs>
    <ds:schemaRef ds:uri="http://schemas.microsoft.com/sharepoint/v3/contenttype/forms"/>
  </ds:schemaRefs>
</ds:datastoreItem>
</file>

<file path=customXml/itemProps28.xml><?xml version="1.0" encoding="utf-8"?>
<ds:datastoreItem xmlns:ds="http://schemas.openxmlformats.org/officeDocument/2006/customXml" ds:itemID="{38C167DF-4E7B-462F-A1D6-D557D471535A}">
  <ds:schemaRefs/>
</ds:datastoreItem>
</file>

<file path=customXml/itemProps29.xml><?xml version="1.0" encoding="utf-8"?>
<ds:datastoreItem xmlns:ds="http://schemas.openxmlformats.org/officeDocument/2006/customXml" ds:itemID="{346E67E8-622F-44A3-9269-8803EC7FB2E6}">
  <ds:schemaRefs/>
</ds:datastoreItem>
</file>

<file path=customXml/itemProps3.xml><?xml version="1.0" encoding="utf-8"?>
<ds:datastoreItem xmlns:ds="http://schemas.openxmlformats.org/officeDocument/2006/customXml" ds:itemID="{7C5CC17E-9F4C-4E73-8D04-CE26E03461C2}">
  <ds:schemaRefs/>
</ds:datastoreItem>
</file>

<file path=customXml/itemProps30.xml><?xml version="1.0" encoding="utf-8"?>
<ds:datastoreItem xmlns:ds="http://schemas.openxmlformats.org/officeDocument/2006/customXml" ds:itemID="{171A4FC3-B5FF-476B-A758-56DBCC0888B4}">
  <ds:schemaRefs/>
</ds:datastoreItem>
</file>

<file path=customXml/itemProps31.xml><?xml version="1.0" encoding="utf-8"?>
<ds:datastoreItem xmlns:ds="http://schemas.openxmlformats.org/officeDocument/2006/customXml" ds:itemID="{3FF5679B-8949-485B-BAE2-14F9104172A1}">
  <ds:schemaRefs/>
</ds:datastoreItem>
</file>

<file path=customXml/itemProps32.xml><?xml version="1.0" encoding="utf-8"?>
<ds:datastoreItem xmlns:ds="http://schemas.openxmlformats.org/officeDocument/2006/customXml" ds:itemID="{CAAF7D45-578D-465F-B423-4E9905E79287}">
  <ds:schemaRefs/>
</ds:datastoreItem>
</file>

<file path=customXml/itemProps33.xml><?xml version="1.0" encoding="utf-8"?>
<ds:datastoreItem xmlns:ds="http://schemas.openxmlformats.org/officeDocument/2006/customXml" ds:itemID="{8BB5EDA4-51AA-461A-BC1B-DE8BD40014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fa5e16e-8c12-485c-9fec-c064cb7a2cc2"/>
    <ds:schemaRef ds:uri="0493db86-3e20-4810-a58e-566fa50d1a8b"/>
    <ds:schemaRef ds:uri="c9dbf70f-e460-4d24-a4e5-01028c7f08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4.xml><?xml version="1.0" encoding="utf-8"?>
<ds:datastoreItem xmlns:ds="http://schemas.openxmlformats.org/officeDocument/2006/customXml" ds:itemID="{49387F72-D588-4118-A4B9-8DD4F3376EEE}">
  <ds:schemaRefs/>
</ds:datastoreItem>
</file>

<file path=customXml/itemProps35.xml><?xml version="1.0" encoding="utf-8"?>
<ds:datastoreItem xmlns:ds="http://schemas.openxmlformats.org/officeDocument/2006/customXml" ds:itemID="{275998C9-6F86-4194-9777-CA6F1AE12D91}">
  <ds:schemaRefs/>
</ds:datastoreItem>
</file>

<file path=customXml/itemProps36.xml><?xml version="1.0" encoding="utf-8"?>
<ds:datastoreItem xmlns:ds="http://schemas.openxmlformats.org/officeDocument/2006/customXml" ds:itemID="{4A68A355-6CBB-497D-A507-93416616495D}">
  <ds:schemaRefs/>
</ds:datastoreItem>
</file>

<file path=customXml/itemProps37.xml><?xml version="1.0" encoding="utf-8"?>
<ds:datastoreItem xmlns:ds="http://schemas.openxmlformats.org/officeDocument/2006/customXml" ds:itemID="{B8995D07-9B98-4A15-AF9A-EAF2FD9306E6}">
  <ds:schemaRefs/>
</ds:datastoreItem>
</file>

<file path=customXml/itemProps38.xml><?xml version="1.0" encoding="utf-8"?>
<ds:datastoreItem xmlns:ds="http://schemas.openxmlformats.org/officeDocument/2006/customXml" ds:itemID="{F5944318-B19B-43CF-A915-E391A6C8F276}">
  <ds:schemaRefs/>
</ds:datastoreItem>
</file>

<file path=customXml/itemProps39.xml><?xml version="1.0" encoding="utf-8"?>
<ds:datastoreItem xmlns:ds="http://schemas.openxmlformats.org/officeDocument/2006/customXml" ds:itemID="{FDFCB0F1-347D-4300-9E56-CFBB5F08F1DC}">
  <ds:schemaRefs/>
</ds:datastoreItem>
</file>

<file path=customXml/itemProps4.xml><?xml version="1.0" encoding="utf-8"?>
<ds:datastoreItem xmlns:ds="http://schemas.openxmlformats.org/officeDocument/2006/customXml" ds:itemID="{D3A92CDC-43AA-4D52-8E0C-197C9A3550BD}">
  <ds:schemaRefs>
    <ds:schemaRef ds:uri="http://schemas.microsoft.com/sharepoint/events"/>
  </ds:schemaRefs>
</ds:datastoreItem>
</file>

<file path=customXml/itemProps40.xml><?xml version="1.0" encoding="utf-8"?>
<ds:datastoreItem xmlns:ds="http://schemas.openxmlformats.org/officeDocument/2006/customXml" ds:itemID="{6CB49490-8630-4143-A4A7-F8EA3053670A}">
  <ds:schemaRefs/>
</ds:datastoreItem>
</file>

<file path=customXml/itemProps41.xml><?xml version="1.0" encoding="utf-8"?>
<ds:datastoreItem xmlns:ds="http://schemas.openxmlformats.org/officeDocument/2006/customXml" ds:itemID="{1A15E197-51DB-4B4D-ACBF-22ED7E98DE92}">
  <ds:schemaRefs/>
</ds:datastoreItem>
</file>

<file path=customXml/itemProps42.xml><?xml version="1.0" encoding="utf-8"?>
<ds:datastoreItem xmlns:ds="http://schemas.openxmlformats.org/officeDocument/2006/customXml" ds:itemID="{E5D9E7FD-EBA9-4974-8A6D-7492FC182E4F}">
  <ds:schemaRefs/>
</ds:datastoreItem>
</file>

<file path=customXml/itemProps43.xml><?xml version="1.0" encoding="utf-8"?>
<ds:datastoreItem xmlns:ds="http://schemas.openxmlformats.org/officeDocument/2006/customXml" ds:itemID="{3613D3FD-8EC5-4A57-8C68-0628718CF2B0}">
  <ds:schemaRefs/>
</ds:datastoreItem>
</file>

<file path=customXml/itemProps44.xml><?xml version="1.0" encoding="utf-8"?>
<ds:datastoreItem xmlns:ds="http://schemas.openxmlformats.org/officeDocument/2006/customXml" ds:itemID="{1235F5FC-43AA-4F1D-B2B8-19E1B5BF81AC}">
  <ds:schemaRefs/>
</ds:datastoreItem>
</file>

<file path=customXml/itemProps45.xml><?xml version="1.0" encoding="utf-8"?>
<ds:datastoreItem xmlns:ds="http://schemas.openxmlformats.org/officeDocument/2006/customXml" ds:itemID="{BB607803-AC58-4B02-8DC9-12442C9EBAA0}">
  <ds:schemaRefs/>
</ds:datastoreItem>
</file>

<file path=customXml/itemProps46.xml><?xml version="1.0" encoding="utf-8"?>
<ds:datastoreItem xmlns:ds="http://schemas.openxmlformats.org/officeDocument/2006/customXml" ds:itemID="{0AFB6211-AC4D-4931-9925-D07CC36AD551}">
  <ds:schemaRefs/>
</ds:datastoreItem>
</file>

<file path=customXml/itemProps47.xml><?xml version="1.0" encoding="utf-8"?>
<ds:datastoreItem xmlns:ds="http://schemas.openxmlformats.org/officeDocument/2006/customXml" ds:itemID="{A3FB88C2-CE6E-4074-8C8E-BDB03DC5BB39}">
  <ds:schemaRefs/>
</ds:datastoreItem>
</file>

<file path=customXml/itemProps48.xml><?xml version="1.0" encoding="utf-8"?>
<ds:datastoreItem xmlns:ds="http://schemas.openxmlformats.org/officeDocument/2006/customXml" ds:itemID="{CDEC6C04-5065-459B-BE5C-626B7058692D}">
  <ds:schemaRefs/>
</ds:datastoreItem>
</file>

<file path=customXml/itemProps5.xml><?xml version="1.0" encoding="utf-8"?>
<ds:datastoreItem xmlns:ds="http://schemas.openxmlformats.org/officeDocument/2006/customXml" ds:itemID="{E45372C1-D46B-4298-B9EE-1256147EB66A}">
  <ds:schemaRefs/>
</ds:datastoreItem>
</file>

<file path=customXml/itemProps6.xml><?xml version="1.0" encoding="utf-8"?>
<ds:datastoreItem xmlns:ds="http://schemas.openxmlformats.org/officeDocument/2006/customXml" ds:itemID="{8942546D-BE37-4024-AE2E-C72E13D108E7}">
  <ds:schemaRefs/>
</ds:datastoreItem>
</file>

<file path=customXml/itemProps7.xml><?xml version="1.0" encoding="utf-8"?>
<ds:datastoreItem xmlns:ds="http://schemas.openxmlformats.org/officeDocument/2006/customXml" ds:itemID="{11D28163-0504-48DE-89EA-01F92C09C71E}">
  <ds:schemaRefs/>
</ds:datastoreItem>
</file>

<file path=customXml/itemProps8.xml><?xml version="1.0" encoding="utf-8"?>
<ds:datastoreItem xmlns:ds="http://schemas.openxmlformats.org/officeDocument/2006/customXml" ds:itemID="{DBE2F355-5183-4358-A197-D1B7058F916A}">
  <ds:schemaRefs/>
</ds:datastoreItem>
</file>

<file path=customXml/itemProps9.xml><?xml version="1.0" encoding="utf-8"?>
<ds:datastoreItem xmlns:ds="http://schemas.openxmlformats.org/officeDocument/2006/customXml" ds:itemID="{5C65D020-EEC1-4C81-ABF5-0EA16956CFB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5</Words>
  <Application>Microsoft Office PowerPoint</Application>
  <PresentationFormat>On-screen Show (4:3)</PresentationFormat>
  <Paragraphs>45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1_Siemens 2013 – 4:3</vt:lpstr>
      <vt:lpstr>Siemens 2016 – 4:3</vt:lpstr>
      <vt:lpstr>1_Siemens 2016 – 4:3</vt:lpstr>
      <vt:lpstr>think-cell Folie</vt:lpstr>
      <vt:lpstr>think-cell Slide</vt:lpstr>
      <vt:lpstr>Acrobat Document</vt:lpstr>
      <vt:lpstr>Targeting a second to none EHS Performance through Ownership</vt:lpstr>
      <vt:lpstr>Why are we here?</vt:lpstr>
      <vt:lpstr>Safety Performance  –  Offshore FY13 to 16</vt:lpstr>
      <vt:lpstr>“Ownership Transfer” in a project driven organization</vt:lpstr>
      <vt:lpstr>Using a Marine Org Structure as Case Study</vt:lpstr>
      <vt:lpstr>Examples from “everyday life”</vt:lpstr>
      <vt:lpstr>Neptune Site as pilot project </vt:lpstr>
      <vt:lpstr>Safety performance for Neptune (FY13-16)         – documented improvement as sign of success!</vt:lpstr>
      <vt:lpstr>Additional measures optimizing the project execution from an EHS perspective </vt:lpstr>
      <vt:lpstr>A final Success Criteria?</vt:lpstr>
      <vt:lpstr>Hasse A. Andreasen Head of EHS Wind Power Offshore  Princess Road, Princess Parkway Manchester M20 2UR, United Kingdom  Phone: +44 (0) 7921 244 292  E-mail: hasse.andreasen@siemens.com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26T13:19:04Z</dcterms:created>
  <dcterms:modified xsi:type="dcterms:W3CDTF">2016-09-28T06:51:52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990527020</vt:i4>
  </property>
  <property fmtid="{D5CDD505-2E9C-101B-9397-08002B2CF9AE}" pid="3" name="_NewReviewCycle">
    <vt:lpwstr/>
  </property>
  <property fmtid="{D5CDD505-2E9C-101B-9397-08002B2CF9AE}" pid="4" name="_PreviousAdHocReviewCycleID">
    <vt:i4>-1470906193</vt:i4>
  </property>
</Properties>
</file>